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tiff" ContentType="image/tiff"/>
  <Default Extension="wav" ContentType="audio/x-wav"/>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5.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716" r:id="rId6"/>
    <p:sldMasterId id="2147483783" r:id="rId7"/>
    <p:sldMasterId id="2147483820" r:id="rId8"/>
    <p:sldMasterId id="2147483872" r:id="rId9"/>
  </p:sldMasterIdLst>
  <p:notesMasterIdLst>
    <p:notesMasterId r:id="rId28"/>
  </p:notesMasterIdLst>
  <p:sldIdLst>
    <p:sldId id="275" r:id="rId10"/>
    <p:sldId id="2147482927" r:id="rId11"/>
    <p:sldId id="2147483542" r:id="rId12"/>
    <p:sldId id="2147483646" r:id="rId13"/>
    <p:sldId id="2147483647" r:id="rId14"/>
    <p:sldId id="263" r:id="rId15"/>
    <p:sldId id="2147482855" r:id="rId16"/>
    <p:sldId id="256" r:id="rId17"/>
    <p:sldId id="295" r:id="rId18"/>
    <p:sldId id="2147482180" r:id="rId19"/>
    <p:sldId id="258" r:id="rId20"/>
    <p:sldId id="257" r:id="rId21"/>
    <p:sldId id="274" r:id="rId22"/>
    <p:sldId id="276" r:id="rId23"/>
    <p:sldId id="279" r:id="rId24"/>
    <p:sldId id="277" r:id="rId25"/>
    <p:sldId id="280" r:id="rId26"/>
    <p:sldId id="281" r:id="rId2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2A4AB"/>
    <a:srgbClr val="FFF69F"/>
    <a:srgbClr val="FFFAC4"/>
    <a:srgbClr val="9413B2"/>
    <a:srgbClr val="2A1D6E"/>
    <a:srgbClr val="4C2C31"/>
    <a:srgbClr val="000000"/>
    <a:srgbClr val="3D3641"/>
    <a:srgbClr val="C8C889"/>
    <a:srgbClr val="6A43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0BE968-FE7C-AB8C-7A5B-CD2CCBD32867}" v="16" dt="2025-11-21T17:31:46.769"/>
    <p1510:client id="{2FE31B0B-D00F-48FC-8F01-7EC87C6E2DC6}" v="920" dt="2025-11-21T17:34:21.3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72" y="4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viewProps" Target="viewProps.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86C9E1-85A8-4FBF-8D04-326D79EAB5CB}" type="datetimeFigureOut">
              <a:rPr lang="en-AT" smtClean="0"/>
              <a:t>26/11/2025</a:t>
            </a:fld>
            <a:endParaRPr lang="en-A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E052D8-3208-4B1A-B3C8-2C7507EB3CF6}" type="slidenum">
              <a:rPr lang="en-AT" smtClean="0"/>
              <a:t>‹#›</a:t>
            </a:fld>
            <a:endParaRPr lang="en-AT"/>
          </a:p>
        </p:txBody>
      </p:sp>
    </p:spTree>
    <p:extLst>
      <p:ext uri="{BB962C8B-B14F-4D97-AF65-F5344CB8AC3E}">
        <p14:creationId xmlns:p14="http://schemas.microsoft.com/office/powerpoint/2010/main" val="2296129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gartner.com/en/newsroom/press-releases/2024-03-11-gartner-predicts-one-third-of-interactions-with-genai-services-will-use-action-models-and-autonomous-agents-for-task-completion-by-2028"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ibm.com/think/topics/ai-agents"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www.ibm.com/topics/large-language-model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youtube.com/watch?v=ZXiruGOCn9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190719-1BFE-62F3-FED3-51BC314B73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B9C6B0-4337-A3EB-B10C-A10F830D34D8}"/>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CB8C6C5E-E411-2882-6957-96E68E870974}"/>
              </a:ext>
            </a:extLst>
          </p:cNvPr>
          <p:cNvSpPr txBox="1">
            <a:spLocks noGrp="1"/>
          </p:cNvSpPr>
          <p:nvPr>
            <p:ph type="body" sz="quarter" idx="1"/>
          </p:nvPr>
        </p:nvSpPr>
        <p:spPr/>
        <p:txBody>
          <a:bodyPr/>
          <a:lstStyle/>
          <a:p>
            <a:pPr lvl="0"/>
            <a:r>
              <a:rPr lang="en-US"/>
              <a:t>1/3 of gen AI interactions </a:t>
            </a:r>
            <a:br>
              <a:rPr lang="en-US"/>
            </a:br>
            <a:r>
              <a:rPr lang="en-US"/>
              <a:t>will use action models and autonomous agents by 2028</a:t>
            </a:r>
          </a:p>
          <a:p>
            <a:pPr lvl="0"/>
            <a:r>
              <a:rPr lang="en-US" sz="800">
                <a:latin typeface="IBM Plex Sans"/>
                <a:hlinkClick r:id="rId3">
                  <a:extLst>
                    <a:ext uri="{A12FA001-AC4F-418D-AE19-62706E023703}">
                      <ahyp:hlinkClr xmlns:ahyp="http://schemas.microsoft.com/office/drawing/2018/hyperlinkcolor" val="tx"/>
                    </a:ext>
                  </a:extLst>
                </a:hlinkClick>
              </a:rPr>
              <a:t>Gartner Predicts One-Third of Interactiosn with GenAI Services Will Use Action Models &amp; Autonomous Agents for Task Completion by 2028</a:t>
            </a:r>
            <a:r>
              <a:rPr lang="en-US" sz="800">
                <a:latin typeface="IBM Plex Sans"/>
              </a:rPr>
              <a:t>, 11 March2024. GARTNER is a registered trademark and service mark of Gartner, Inc. and/or its affiliates in the U.S. and internationally and is used herein with permission. All rights reserved.</a:t>
            </a:r>
          </a:p>
          <a:p>
            <a:pPr lvl="0"/>
            <a:endParaRPr lang="en-US"/>
          </a:p>
          <a:p>
            <a:pPr lvl="0"/>
            <a:endParaRPr lang="en-US"/>
          </a:p>
        </p:txBody>
      </p:sp>
      <p:sp>
        <p:nvSpPr>
          <p:cNvPr id="4" name="Slide Number Placeholder 3">
            <a:extLst>
              <a:ext uri="{FF2B5EF4-FFF2-40B4-BE49-F238E27FC236}">
                <a16:creationId xmlns:a16="http://schemas.microsoft.com/office/drawing/2014/main" id="{2E9BAFD9-0A31-612F-3A95-F25048B244A1}"/>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D47C27-9E24-E145-B2CC-0E57894FBDEA}" type="slidenum">
              <a:rPr kumimoji="0" lang="en-US" sz="1200" b="0" i="0" u="none" strike="noStrike" kern="1200" cap="none" spc="0" normalizeH="0" baseline="0" noProof="0">
                <a:ln>
                  <a:noFill/>
                </a:ln>
                <a:solidFill>
                  <a:srgbClr val="000000"/>
                </a:solidFill>
                <a:effectLst/>
                <a:uLnTx/>
                <a:uFillTx/>
                <a:latin typeface="Apto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Aptos"/>
              <a:ea typeface="+mn-ea"/>
              <a:cs typeface="+mn-cs"/>
            </a:endParaRPr>
          </a:p>
        </p:txBody>
      </p:sp>
      <p:sp>
        <p:nvSpPr>
          <p:cNvPr id="5" name="Footer Placeholder 4">
            <a:extLst>
              <a:ext uri="{FF2B5EF4-FFF2-40B4-BE49-F238E27FC236}">
                <a16:creationId xmlns:a16="http://schemas.microsoft.com/office/drawing/2014/main" id="{4FAE05BC-4116-928A-5FB1-7D57B6EC688A}"/>
              </a:ext>
            </a:extLst>
          </p:cNvPr>
          <p:cNvSpPr txBox="1">
            <a:spLocks noGrp="1"/>
          </p:cNvSpPr>
          <p:nvPr>
            <p:ph type="ftr" sz="quarter" idx="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ptos"/>
                <a:ea typeface="+mn-ea"/>
                <a:cs typeface="+mn-cs"/>
              </a:rPr>
              <a:t>Footer</a:t>
            </a:r>
          </a:p>
        </p:txBody>
      </p:sp>
    </p:spTree>
    <p:extLst>
      <p:ext uri="{BB962C8B-B14F-4D97-AF65-F5344CB8AC3E}">
        <p14:creationId xmlns:p14="http://schemas.microsoft.com/office/powerpoint/2010/main" val="4157990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C8C587-F35A-0C45-B9DA-7AF917A443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876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dirty="0">
                <a:solidFill>
                  <a:srgbClr val="000000"/>
                </a:solidFill>
                <a:effectLst/>
                <a:latin typeface="WordVisi_MSFontService"/>
              </a:rPr>
              <a:t>“We’ve had agents for as long as we’ve had AI. What’s new is that </a:t>
            </a:r>
            <a:r>
              <a:rPr lang="en-US" sz="800" b="0" i="0" u="sng" strike="noStrike" dirty="0">
                <a:solidFill>
                  <a:srgbClr val="467886"/>
                </a:solidFill>
                <a:effectLst/>
                <a:latin typeface="WordVisi_MSFontService"/>
                <a:hlinkClick r:id="rId3"/>
              </a:rPr>
              <a:t>agentic AI</a:t>
            </a:r>
            <a:r>
              <a:rPr lang="en-US" sz="800" b="0" i="1" dirty="0">
                <a:solidFill>
                  <a:srgbClr val="000000"/>
                </a:solidFill>
                <a:effectLst/>
                <a:latin typeface="WordVisi_MSFontService"/>
              </a:rPr>
              <a:t> </a:t>
            </a:r>
            <a:r>
              <a:rPr lang="en-US" sz="800" b="0" i="0" dirty="0">
                <a:solidFill>
                  <a:srgbClr val="000000"/>
                </a:solidFill>
                <a:effectLst/>
                <a:latin typeface="WordVisi_MSFontService"/>
              </a:rPr>
              <a:t>is now commonly defined by its dependence on generative AI. The buzz of agentic AI stems from its potential to extend the emergent, probabilistic abilities of </a:t>
            </a:r>
            <a:r>
              <a:rPr lang="en-US" sz="800" b="0" i="0" u="sng" strike="noStrike" dirty="0">
                <a:solidFill>
                  <a:srgbClr val="467886"/>
                </a:solidFill>
                <a:effectLst/>
                <a:latin typeface="WordVisi_MSFontService"/>
                <a:hlinkClick r:id="rId4"/>
              </a:rPr>
              <a:t>large language models</a:t>
            </a:r>
            <a:r>
              <a:rPr lang="en-US" sz="800" b="0" i="0" dirty="0">
                <a:solidFill>
                  <a:srgbClr val="000000"/>
                </a:solidFill>
                <a:effectLst/>
                <a:latin typeface="WordVisi_MSFontService"/>
              </a:rPr>
              <a:t> (LLMs) to new action spaces. While generative AI </a:t>
            </a:r>
            <a:r>
              <a:rPr lang="en-US" sz="800" b="0" i="1" dirty="0">
                <a:solidFill>
                  <a:srgbClr val="000000"/>
                </a:solidFill>
                <a:effectLst/>
                <a:latin typeface="WordVisi_MSFontService"/>
              </a:rPr>
              <a:t>creates</a:t>
            </a:r>
            <a:r>
              <a:rPr lang="en-US" sz="800" b="0" i="0" dirty="0">
                <a:solidFill>
                  <a:srgbClr val="000000"/>
                </a:solidFill>
                <a:effectLst/>
                <a:latin typeface="WordVisi_MSFontService"/>
              </a:rPr>
              <a:t> answers or content, agentic AI can</a:t>
            </a:r>
            <a:r>
              <a:rPr lang="en-US" sz="800" b="0" i="1" dirty="0">
                <a:solidFill>
                  <a:srgbClr val="000000"/>
                </a:solidFill>
                <a:effectLst/>
                <a:latin typeface="WordVisi_MSFontService"/>
              </a:rPr>
              <a:t> </a:t>
            </a:r>
            <a:r>
              <a:rPr lang="en-US" sz="800" b="0" i="0" dirty="0">
                <a:solidFill>
                  <a:srgbClr val="000000"/>
                </a:solidFill>
                <a:effectLst/>
                <a:latin typeface="WordVisi_MSFontService"/>
              </a:rPr>
              <a:t>autonomously</a:t>
            </a:r>
            <a:r>
              <a:rPr lang="en-US" sz="800" b="0" i="1" dirty="0">
                <a:solidFill>
                  <a:srgbClr val="000000"/>
                </a:solidFill>
                <a:effectLst/>
                <a:latin typeface="WordVisi_MSFontService"/>
              </a:rPr>
              <a:t> act </a:t>
            </a:r>
            <a:r>
              <a:rPr lang="en-US" sz="800" b="0" i="0" dirty="0">
                <a:solidFill>
                  <a:srgbClr val="000000"/>
                </a:solidFill>
                <a:effectLst/>
                <a:latin typeface="WordVisi_MSFontService"/>
              </a:rPr>
              <a:t>upon those answers.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ull 1</a:t>
            </a:r>
            <a:r>
              <a:rPr lang="en-US" baseline="30000" dirty="0"/>
              <a:t>st</a:t>
            </a:r>
            <a:r>
              <a:rPr lang="en-US" dirty="0"/>
              <a:t> quote: </a:t>
            </a:r>
            <a:r>
              <a:rPr lang="en-GB" dirty="0">
                <a:solidFill>
                  <a:srgbClr val="0F62FE"/>
                </a:solidFill>
                <a:latin typeface="IBM Plex Sans" panose="020B0503050203000203" pitchFamily="34" charset="0"/>
              </a:rPr>
              <a:t>“Agentic AI </a:t>
            </a:r>
            <a:r>
              <a:rPr lang="en-GB" dirty="0">
                <a:solidFill>
                  <a:srgbClr val="3F3F3F"/>
                </a:solidFill>
                <a:latin typeface="IBM Plex Sans" panose="020B0503050203000203" pitchFamily="34" charset="0"/>
              </a:rPr>
              <a:t>refers to goal-driven software entities that have been granted rights by the organization to act on its behalf to </a:t>
            </a:r>
            <a:r>
              <a:rPr lang="en-GB" dirty="0">
                <a:solidFill>
                  <a:srgbClr val="0F62FE"/>
                </a:solidFill>
                <a:latin typeface="IBM Plex Sans" panose="020B0503050203000203" pitchFamily="34" charset="0"/>
              </a:rPr>
              <a:t>autonomously make decisions </a:t>
            </a:r>
            <a:r>
              <a:rPr lang="en-GB" dirty="0">
                <a:solidFill>
                  <a:srgbClr val="3F3F3F"/>
                </a:solidFill>
                <a:latin typeface="IBM Plex Sans" panose="020B0503050203000203" pitchFamily="34" charset="0"/>
              </a:rPr>
              <a:t>and </a:t>
            </a:r>
            <a:r>
              <a:rPr lang="en-GB" dirty="0">
                <a:solidFill>
                  <a:srgbClr val="0F62FE"/>
                </a:solidFill>
                <a:latin typeface="IBM Plex Sans" panose="020B0503050203000203" pitchFamily="34" charset="0"/>
              </a:rPr>
              <a:t>take action</a:t>
            </a:r>
            <a:r>
              <a:rPr lang="en-GB" dirty="0">
                <a:solidFill>
                  <a:srgbClr val="3F3F3F"/>
                </a:solidFill>
                <a:latin typeface="IBM Plex Sans" panose="020B0503050203000203" pitchFamily="34" charset="0"/>
              </a:rPr>
              <a:t>. These entities use AI techniques — combined with components such as memory, planning, sensing, tooling and guardrails — to complete tasks and achieve objectives. “</a:t>
            </a:r>
          </a:p>
          <a:p>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686017"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686017"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68601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2110916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F6A7D-F668-3C35-923B-E0539D23A8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F51D40-683B-67E1-C6BA-D3CF18D7373C}"/>
              </a:ext>
            </a:extLst>
          </p:cNvPr>
          <p:cNvSpPr>
            <a:spLocks noGrp="1" noRot="1" noChangeAspect="1"/>
          </p:cNvSpPr>
          <p:nvPr>
            <p:ph type="sldImg"/>
          </p:nvPr>
        </p:nvSpPr>
        <p:spPr>
          <a:xfrm>
            <a:off x="1044575" y="209550"/>
            <a:ext cx="4743450" cy="2668588"/>
          </a:xfrm>
        </p:spPr>
      </p:sp>
      <p:sp>
        <p:nvSpPr>
          <p:cNvPr id="3" name="Notes Placeholder 2">
            <a:extLst>
              <a:ext uri="{FF2B5EF4-FFF2-40B4-BE49-F238E27FC236}">
                <a16:creationId xmlns:a16="http://schemas.microsoft.com/office/drawing/2014/main" id="{8F060898-817A-E8BD-4A5B-DA78F926A231}"/>
              </a:ext>
            </a:extLst>
          </p:cNvPr>
          <p:cNvSpPr>
            <a:spLocks noGrp="1"/>
          </p:cNvSpPr>
          <p:nvPr>
            <p:ph type="body" idx="1"/>
          </p:nvPr>
        </p:nvSpPr>
        <p:spPr/>
        <p:txBody>
          <a:bodyPr/>
          <a:lstStyle/>
          <a:p>
            <a:pPr>
              <a:lnSpc>
                <a:spcPct val="100000"/>
              </a:lnSpc>
            </a:pPr>
            <a:endParaRPr lang="en-US" dirty="0"/>
          </a:p>
        </p:txBody>
      </p:sp>
      <p:sp>
        <p:nvSpPr>
          <p:cNvPr id="4" name="Slide Number Placeholder 3">
            <a:extLst>
              <a:ext uri="{FF2B5EF4-FFF2-40B4-BE49-F238E27FC236}">
                <a16:creationId xmlns:a16="http://schemas.microsoft.com/office/drawing/2014/main" id="{CE57EC56-D50B-A59D-58D2-D1E684717E5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209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51D63-09F5-CEA1-BA81-89E7DB2D21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8B35CA-2D63-EE7F-FD4C-9D027AB28B5E}"/>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CC12DDB9-9D91-1254-1A25-29A0538B2F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F9A046-549F-A5EE-2089-73EC81A6B3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99843FE-AC87-410C-DEB3-52B6F8A00F2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14279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b="1" dirty="0">
                <a:latin typeface="+mn-lt"/>
              </a:rPr>
              <a:t>Watson</a:t>
            </a:r>
            <a:r>
              <a:rPr lang="en-US" b="1" dirty="0">
                <a:solidFill>
                  <a:srgbClr val="0D62FE"/>
                </a:solidFill>
                <a:latin typeface="+mn-lt"/>
              </a:rPr>
              <a:t>x</a:t>
            </a:r>
            <a:r>
              <a:rPr lang="en-US" dirty="0">
                <a:latin typeface="+mn-lt"/>
              </a:rPr>
              <a:t>.</a:t>
            </a:r>
            <a:r>
              <a:rPr lang="en-US" b="1" dirty="0">
                <a:latin typeface="+mn-lt"/>
              </a:rPr>
              <a:t>ai </a:t>
            </a:r>
            <a:r>
              <a:rPr lang="en-US" dirty="0">
                <a:latin typeface="+mn-lt"/>
              </a:rPr>
              <a:t>is part of the IBM </a:t>
            </a:r>
            <a:r>
              <a:rPr lang="en-US" b="1" dirty="0">
                <a:latin typeface="+mn-lt"/>
              </a:rPr>
              <a:t>watson</a:t>
            </a:r>
            <a:r>
              <a:rPr lang="en-US" b="1" dirty="0">
                <a:solidFill>
                  <a:srgbClr val="0D62FE"/>
                </a:solidFill>
                <a:latin typeface="+mn-lt"/>
              </a:rPr>
              <a:t>x</a:t>
            </a:r>
            <a:r>
              <a:rPr lang="en-US" dirty="0">
                <a:latin typeface="+mn-lt"/>
              </a:rPr>
              <a:t> platform that provides foundation models and generative AI capabilities, plus traditional AI modelling that clients have come to know (in IBM Watson Studio and IBM Watson Machine Learning).</a:t>
            </a:r>
          </a:p>
          <a:p>
            <a:endParaRPr lang="en-US" dirty="0">
              <a:latin typeface="+mn-lt"/>
            </a:endParaRPr>
          </a:p>
          <a:p>
            <a:pPr marL="0" indent="0">
              <a:buFont typeface="Arial" panose="020B0604020202020204" pitchFamily="34" charset="0"/>
              <a:buNone/>
            </a:pPr>
            <a:r>
              <a:rPr lang="en-US" b="0" dirty="0">
                <a:latin typeface="+mn-lt"/>
              </a:rPr>
              <a:t>There are three main components in </a:t>
            </a:r>
            <a:r>
              <a:rPr lang="en-US" b="1" dirty="0">
                <a:latin typeface="+mn-lt"/>
              </a:rPr>
              <a:t>watson</a:t>
            </a:r>
            <a:r>
              <a:rPr lang="en-US" b="1" dirty="0">
                <a:solidFill>
                  <a:srgbClr val="0D62FE"/>
                </a:solidFill>
                <a:latin typeface="+mn-lt"/>
              </a:rPr>
              <a:t>x</a:t>
            </a:r>
            <a:r>
              <a:rPr lang="en-US" dirty="0">
                <a:latin typeface="+mn-lt"/>
              </a:rPr>
              <a:t>.</a:t>
            </a:r>
            <a:r>
              <a:rPr lang="en-US" b="1" dirty="0">
                <a:latin typeface="+mn-lt"/>
              </a:rPr>
              <a:t>ai</a:t>
            </a:r>
            <a:r>
              <a:rPr lang="en-US" dirty="0">
                <a:latin typeface="+mn-lt"/>
              </a:rPr>
              <a:t>:</a:t>
            </a:r>
            <a:br>
              <a:rPr lang="en-US" b="0" dirty="0">
                <a:latin typeface="+mn-lt"/>
              </a:rPr>
            </a:br>
            <a:endParaRPr lang="en-US" b="0" dirty="0">
              <a:latin typeface="+mn-lt"/>
            </a:endParaRPr>
          </a:p>
          <a:p>
            <a:pPr marL="171450" indent="-171450">
              <a:buFont typeface="Arial" panose="020B0604020202020204" pitchFamily="34" charset="0"/>
              <a:buChar char="•"/>
            </a:pPr>
            <a:r>
              <a:rPr lang="en-US" b="1" dirty="0">
                <a:latin typeface="+mn-lt"/>
              </a:rPr>
              <a:t>Foundation model libraries </a:t>
            </a:r>
            <a:r>
              <a:rPr lang="en-US" b="0" dirty="0">
                <a:latin typeface="+mn-lt"/>
              </a:rPr>
              <a:t>– these include many well-known models such as Codex, Generative Pre-trained </a:t>
            </a:r>
            <a:r>
              <a:rPr lang="en-US" dirty="0">
                <a:latin typeface="+mn-lt"/>
              </a:rPr>
              <a:t>t</a:t>
            </a:r>
            <a:r>
              <a:rPr lang="en-US" b="0" dirty="0">
                <a:latin typeface="+mn-lt"/>
              </a:rPr>
              <a:t>ransformer (GPT), Fine-tuned Language Net (FLAN), and more, as well as IBM’s own foundation </a:t>
            </a:r>
            <a:r>
              <a:rPr lang="en-US" dirty="0">
                <a:latin typeface="+mn-lt"/>
              </a:rPr>
              <a:t>m</a:t>
            </a:r>
            <a:r>
              <a:rPr lang="en-US" b="0" dirty="0">
                <a:latin typeface="+mn-lt"/>
              </a:rPr>
              <a:t>odels.</a:t>
            </a:r>
          </a:p>
          <a:p>
            <a:pPr marL="171450" indent="-171450">
              <a:buFont typeface="Arial" panose="020B0604020202020204" pitchFamily="34" charset="0"/>
              <a:buChar char="•"/>
            </a:pPr>
            <a:endParaRPr lang="en-US" b="0" dirty="0">
              <a:latin typeface="+mn-lt"/>
            </a:endParaRPr>
          </a:p>
          <a:p>
            <a:pPr marL="171450" indent="-171450">
              <a:buFont typeface="Arial" panose="020B0604020202020204" pitchFamily="34" charset="0"/>
              <a:buChar char="•"/>
            </a:pPr>
            <a:r>
              <a:rPr lang="en-US" b="1" dirty="0">
                <a:latin typeface="+mn-lt"/>
              </a:rPr>
              <a:t>Prompt lab </a:t>
            </a:r>
            <a:r>
              <a:rPr lang="en-US" b="0" dirty="0">
                <a:latin typeface="+mn-lt"/>
              </a:rPr>
              <a:t>– Prompt engineering is a way of helping the model to be more accurate and precise in its response by providing some user input (called prompts). Prompt engineering is an art and requires practice. IBM provides samples of prompts, and the studio helps users to try different prompts and different models to get the best results.</a:t>
            </a:r>
          </a:p>
          <a:p>
            <a:pPr marL="171450" indent="-171450">
              <a:buFont typeface="Arial" panose="020B0604020202020204" pitchFamily="34" charset="0"/>
              <a:buChar char="•"/>
            </a:pPr>
            <a:endParaRPr lang="en-US" b="0" dirty="0">
              <a:latin typeface="+mn-lt"/>
            </a:endParaRPr>
          </a:p>
          <a:p>
            <a:pPr marL="171450" indent="-171450">
              <a:buFont typeface="Arial" panose="020B0604020202020204" pitchFamily="34" charset="0"/>
              <a:buChar char="•"/>
            </a:pPr>
            <a:r>
              <a:rPr lang="en-US" b="1" dirty="0">
                <a:latin typeface="+mn-lt"/>
              </a:rPr>
              <a:t>Tuning studio</a:t>
            </a:r>
            <a:r>
              <a:rPr lang="en-US" b="0" dirty="0">
                <a:latin typeface="+mn-lt"/>
              </a:rPr>
              <a:t> – there are multiple ways that </a:t>
            </a:r>
            <a:r>
              <a:rPr lang="en-US" b="1" dirty="0">
                <a:latin typeface="+mn-lt"/>
              </a:rPr>
              <a:t>watson</a:t>
            </a:r>
            <a:r>
              <a:rPr lang="en-US" b="1" dirty="0">
                <a:solidFill>
                  <a:srgbClr val="0D62FE"/>
                </a:solidFill>
                <a:latin typeface="+mn-lt"/>
              </a:rPr>
              <a:t>x</a:t>
            </a:r>
            <a:r>
              <a:rPr lang="en-US" dirty="0">
                <a:latin typeface="+mn-lt"/>
              </a:rPr>
              <a:t>.</a:t>
            </a:r>
            <a:r>
              <a:rPr lang="en-US" b="1" dirty="0">
                <a:latin typeface="+mn-lt"/>
              </a:rPr>
              <a:t>ai </a:t>
            </a:r>
            <a:r>
              <a:rPr lang="en-US" b="0" dirty="0">
                <a:latin typeface="+mn-lt"/>
              </a:rPr>
              <a:t>lets clients fine-tune the foundation models:</a:t>
            </a:r>
          </a:p>
          <a:p>
            <a:pPr marL="228600" indent="-228600">
              <a:buFont typeface="+mj-lt"/>
              <a:buAutoNum type="arabicPeriod"/>
            </a:pPr>
            <a:endParaRPr lang="en-US" b="0" dirty="0">
              <a:latin typeface="+mn-lt"/>
            </a:endParaRPr>
          </a:p>
          <a:p>
            <a:pPr marL="694290" lvl="1" indent="-228600"/>
            <a:r>
              <a:rPr lang="en-US" b="0" dirty="0">
                <a:latin typeface="+mn-lt"/>
              </a:rPr>
              <a:t>Changing various parameters (example)</a:t>
            </a:r>
          </a:p>
          <a:p>
            <a:pPr marL="694290" lvl="1" indent="-228600"/>
            <a:r>
              <a:rPr lang="en-US" b="0" dirty="0">
                <a:latin typeface="+mn-lt"/>
              </a:rPr>
              <a:t>Providing additional data to further train the model</a:t>
            </a:r>
          </a:p>
          <a:p>
            <a:endParaRPr lang="en-US" dirty="0">
              <a:latin typeface="+mn-lt"/>
            </a:endParaRPr>
          </a:p>
          <a:p>
            <a:r>
              <a:rPr lang="en-US" dirty="0">
                <a:latin typeface="+mn-lt"/>
              </a:rPr>
              <a:t>However, it is important to remind clients that the base AI capabilities (Watson Studio, Watson Machine Learning, etc.) are still there for the clients and clients will continue to enjoy existing capabilities such as:</a:t>
            </a:r>
          </a:p>
          <a:p>
            <a:endParaRPr lang="en-US" dirty="0">
              <a:latin typeface="+mn-lt"/>
            </a:endParaRPr>
          </a:p>
          <a:p>
            <a:pPr marL="171450" indent="-171450">
              <a:buFont typeface="Arial" panose="020B0604020202020204" pitchFamily="34" charset="0"/>
              <a:buChar char="•"/>
            </a:pPr>
            <a:r>
              <a:rPr lang="en-US" dirty="0">
                <a:latin typeface="+mn-lt"/>
              </a:rPr>
              <a:t>Model operations: training, deploying, managing, etc.</a:t>
            </a:r>
          </a:p>
          <a:p>
            <a:pPr marL="171450" indent="-171450">
              <a:buFont typeface="Arial" panose="020B0604020202020204" pitchFamily="34" charset="0"/>
              <a:buChar char="•"/>
            </a:pPr>
            <a:r>
              <a:rPr lang="en-US" dirty="0">
                <a:latin typeface="+mn-lt"/>
              </a:rPr>
              <a:t>Automated development</a:t>
            </a:r>
          </a:p>
          <a:p>
            <a:pPr marL="171450" indent="-171450">
              <a:buFont typeface="Arial" panose="020B0604020202020204" pitchFamily="34" charset="0"/>
              <a:buChar char="•"/>
            </a:pPr>
            <a:r>
              <a:rPr lang="en-US" dirty="0">
                <a:latin typeface="+mn-lt"/>
              </a:rPr>
              <a:t>Team collaboration</a:t>
            </a:r>
          </a:p>
          <a:p>
            <a:pPr marL="171450" indent="-171450">
              <a:buFont typeface="Arial" panose="020B0604020202020204" pitchFamily="34" charset="0"/>
              <a:buChar char="•"/>
            </a:pPr>
            <a:r>
              <a:rPr lang="en-US" dirty="0">
                <a:latin typeface="+mn-lt"/>
              </a:rPr>
              <a:t>Decision optimization</a:t>
            </a:r>
          </a:p>
          <a:p>
            <a:pPr marL="0" indent="0">
              <a:buFont typeface="Arial" panose="020B0604020202020204" pitchFamily="34" charset="0"/>
              <a:buNone/>
            </a:pPr>
            <a:endParaRPr lang="en-US" dirty="0">
              <a:latin typeface="+mn-lt"/>
            </a:endParaRPr>
          </a:p>
          <a:p>
            <a:r>
              <a:rPr lang="en-US" b="1" dirty="0">
                <a:latin typeface="+mn-lt"/>
              </a:rPr>
              <a:t>Notes:</a:t>
            </a:r>
          </a:p>
          <a:p>
            <a:endParaRPr lang="en-US" b="1" dirty="0">
              <a:latin typeface="+mn-lt"/>
            </a:endParaRPr>
          </a:p>
          <a:p>
            <a:pPr marL="171450" indent="-171450">
              <a:buFont typeface="Arial" panose="020B0604020202020204" pitchFamily="34" charset="0"/>
              <a:buChar char="•"/>
            </a:pPr>
            <a:r>
              <a:rPr lang="en-US" kern="100" dirty="0">
                <a:latin typeface="+mn-lt"/>
                <a:ea typeface="Calibri" panose="020F0502020204030204" pitchFamily="34" charset="0"/>
                <a:cs typeface="Times New Roman" panose="02020603050405020304" pitchFamily="18" charset="0"/>
              </a:rPr>
              <a:t>When using </a:t>
            </a:r>
            <a:r>
              <a:rPr lang="en-US" b="1" kern="100" dirty="0">
                <a:latin typeface="+mn-lt"/>
                <a:ea typeface="Calibri" panose="020F0502020204030204" pitchFamily="34" charset="0"/>
                <a:cs typeface="Times New Roman" panose="02020603050405020304" pitchFamily="18" charset="0"/>
              </a:rPr>
              <a:t>w</a:t>
            </a:r>
            <a:r>
              <a:rPr lang="en-US" b="1" kern="100" dirty="0">
                <a:effectLst/>
                <a:latin typeface="+mn-lt"/>
                <a:ea typeface="Calibri" panose="020F0502020204030204" pitchFamily="34" charset="0"/>
                <a:cs typeface="Times New Roman" panose="02020603050405020304" pitchFamily="18" charset="0"/>
              </a:rPr>
              <a:t>atson</a:t>
            </a:r>
            <a:r>
              <a:rPr lang="en-US" b="1" i="0" dirty="0">
                <a:solidFill>
                  <a:srgbClr val="0D62FE"/>
                </a:solidFill>
                <a:latin typeface="+mn-lt"/>
              </a:rPr>
              <a:t>x</a:t>
            </a:r>
            <a:r>
              <a:rPr lang="en-US" kern="100" dirty="0">
                <a:latin typeface="+mn-lt"/>
                <a:ea typeface="Calibri" panose="020F0502020204030204" pitchFamily="34" charset="0"/>
                <a:cs typeface="Times New Roman" panose="02020603050405020304" pitchFamily="18" charset="0"/>
              </a:rPr>
              <a:t>, maintain coloring and bolding whenever possible. </a:t>
            </a:r>
          </a:p>
          <a:p>
            <a:pPr marL="228600" indent="-228600">
              <a:buFont typeface="+mj-lt"/>
              <a:buAutoNum type="arabicPeriod"/>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0" dirty="0">
                <a:latin typeface="+mn-lt"/>
              </a:rPr>
              <a:t>An</a:t>
            </a:r>
            <a:r>
              <a:rPr lang="en-US" b="1" dirty="0">
                <a:latin typeface="+mn-lt"/>
              </a:rPr>
              <a:t> algorithm </a:t>
            </a:r>
            <a:r>
              <a:rPr lang="en-US" b="0" dirty="0">
                <a:latin typeface="+mn-lt"/>
              </a:rPr>
              <a:t>is a procedure used for solving a problem or performing a computation. Algorithms act as an exact list of instructions that conduct a sequence of specified actions in either hardware- or software-based routines.</a:t>
            </a:r>
            <a:endParaRPr lang="en-US"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Foundation models </a:t>
            </a:r>
            <a:r>
              <a:rPr lang="en-US" dirty="0">
                <a:latin typeface="+mn-lt"/>
              </a:rPr>
              <a:t>are typically built using a specific kind of neural network architecture, called a transformer, which is designed to generate sequences of related data elements (for example, a sentence).</a:t>
            </a:r>
            <a:endParaRPr lang="en-US"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tabLst>
                <a:tab pos="457200" algn="l"/>
              </a:tabLst>
            </a:pPr>
            <a:r>
              <a:rPr lang="en-US" b="1" kern="100" dirty="0">
                <a:effectLst/>
                <a:latin typeface="+mn-lt"/>
                <a:ea typeface="Calibri" panose="020F0502020204030204" pitchFamily="34" charset="0"/>
                <a:cs typeface="Times New Roman" panose="02020603050405020304" pitchFamily="18" charset="0"/>
              </a:rPr>
              <a:t>Generative AI </a:t>
            </a:r>
            <a:r>
              <a:rPr lang="en-US" kern="100" dirty="0">
                <a:effectLst/>
                <a:latin typeface="+mn-lt"/>
                <a:ea typeface="Calibri" panose="020F0502020204030204" pitchFamily="34" charset="0"/>
                <a:cs typeface="Times New Roman" panose="02020603050405020304" pitchFamily="18" charset="0"/>
              </a:rPr>
              <a:t>refers to a set of AI algorithms that can generate new outputs — such as text, images, code, or audio — based on the training data, unlike traditional AI systems that are designed to recognize patterns and make predictions. Sometimes the AI that powers these solutions are referred to as decoders.</a:t>
            </a:r>
          </a:p>
          <a:p>
            <a:pPr marL="171450" marR="0" indent="-171450">
              <a:lnSpc>
                <a:spcPct val="107000"/>
              </a:lnSpc>
              <a:spcBef>
                <a:spcPts val="0"/>
              </a:spcBef>
              <a:spcAft>
                <a:spcPts val="0"/>
              </a:spcAft>
              <a:buFont typeface="Arial" panose="020B0604020202020204" pitchFamily="34" charset="0"/>
              <a:buChar char="•"/>
            </a:pP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kern="100" dirty="0">
                <a:effectLst/>
                <a:latin typeface="+mn-lt"/>
                <a:ea typeface="Calibri" panose="020F0502020204030204" pitchFamily="34" charset="0"/>
                <a:cs typeface="Times New Roman" panose="02020603050405020304" pitchFamily="18" charset="0"/>
              </a:rPr>
              <a:t>A </a:t>
            </a:r>
            <a:r>
              <a:rPr lang="en-US" b="1" kern="100" dirty="0">
                <a:effectLst/>
                <a:latin typeface="+mn-lt"/>
                <a:ea typeface="Calibri" panose="020F0502020204030204" pitchFamily="34" charset="0"/>
                <a:cs typeface="Times New Roman" panose="02020603050405020304" pitchFamily="18" charset="0"/>
              </a:rPr>
              <a:t>large language model (LLM) </a:t>
            </a:r>
            <a:r>
              <a:rPr lang="en-US" kern="100" dirty="0">
                <a:effectLst/>
                <a:latin typeface="+mn-lt"/>
                <a:ea typeface="Calibri" panose="020F0502020204030204" pitchFamily="34" charset="0"/>
                <a:cs typeface="Times New Roman" panose="02020603050405020304" pitchFamily="18" charset="0"/>
              </a:rPr>
              <a:t>is a type of machine learning model that has been trained on large quantities of unlabeled text using self-supervised learning and can perform a variety of natural language processing (NLP) tasks (even when that language is a programming language). Output may range from books, articles, social media posts, online conversations, and even code. The architecture of an LLM consists of layers of neural networks that learn to generate language in a way that is similar to how humans use language. </a:t>
            </a:r>
          </a:p>
          <a:p>
            <a:pPr marL="0" marR="0">
              <a:lnSpc>
                <a:spcPct val="107000"/>
              </a:lnSpc>
              <a:spcBef>
                <a:spcPts val="0"/>
              </a:spcBef>
              <a:spcAft>
                <a:spcPts val="0"/>
              </a:spcAft>
            </a:pPr>
            <a:endParaRPr lang="en-US" b="1" kern="100" dirty="0">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Machine learning (ML) </a:t>
            </a:r>
            <a:r>
              <a:rPr lang="en-US" kern="100" dirty="0">
                <a:effectLst/>
                <a:latin typeface="+mn-lt"/>
                <a:ea typeface="Calibri" panose="020F0502020204030204" pitchFamily="34" charset="0"/>
                <a:cs typeface="Times New Roman" panose="02020603050405020304" pitchFamily="18" charset="0"/>
              </a:rPr>
              <a:t>refers to a broad set of techniques to train a computer to learn from its inputs, using existing data, and one or more “training” methods, instead of being explicitly programmed. ML helps a computer to achieve AI. </a:t>
            </a:r>
          </a:p>
          <a:p>
            <a:pPr marL="171450" marR="0" indent="-171450">
              <a:lnSpc>
                <a:spcPct val="107000"/>
              </a:lnSpc>
              <a:spcBef>
                <a:spcPts val="0"/>
              </a:spcBef>
              <a:spcAft>
                <a:spcPts val="0"/>
              </a:spcAft>
              <a:buFont typeface="Arial" panose="020B0604020202020204" pitchFamily="34" charset="0"/>
              <a:buChar char="•"/>
            </a:pPr>
            <a:endParaRPr lang="en-US" b="1"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Natural language processing (NLP) </a:t>
            </a:r>
            <a:r>
              <a:rPr lang="en-US" kern="100" dirty="0">
                <a:effectLst/>
                <a:latin typeface="+mn-lt"/>
                <a:ea typeface="Calibri" panose="020F0502020204030204" pitchFamily="34" charset="0"/>
                <a:cs typeface="Times New Roman" panose="02020603050405020304" pitchFamily="18" charset="0"/>
              </a:rPr>
              <a:t>is the technology that gives computers the ability to understand text and spoken words in much the same way human beings can. NLP combines computational linguistics — rule-based modeling of human language — with statistical, machine learning, and deep learning models. These technologies enable computers to process human language in the form of text or voice data and to ‘understand’ its full meaning, complete with the speaker or writer’s intent and sentiment.</a:t>
            </a:r>
          </a:p>
          <a:p>
            <a:pPr marL="171450" marR="0" indent="-171450">
              <a:lnSpc>
                <a:spcPct val="107000"/>
              </a:lnSpc>
              <a:spcBef>
                <a:spcPts val="0"/>
              </a:spcBef>
              <a:spcAft>
                <a:spcPts val="0"/>
              </a:spcAft>
              <a:buFont typeface="Arial" panose="020B0604020202020204" pitchFamily="34" charset="0"/>
              <a:buChar char="•"/>
            </a:pPr>
            <a:endParaRPr lang="en-US" b="1"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Neural networks </a:t>
            </a:r>
            <a:r>
              <a:rPr lang="en-US" kern="100" dirty="0">
                <a:effectLst/>
                <a:latin typeface="+mn-lt"/>
                <a:ea typeface="Calibri" panose="020F0502020204030204" pitchFamily="34" charset="0"/>
                <a:cs typeface="Times New Roman" panose="02020603050405020304" pitchFamily="18" charset="0"/>
              </a:rPr>
              <a:t>are a set of algorithms, modelled loosely after the neural networks found in the human brain, that are designed to recognize hidden patterns in data</a:t>
            </a:r>
            <a:r>
              <a:rPr lang="en-US" b="1" kern="100" dirty="0">
                <a:effectLst/>
                <a:latin typeface="+mn-lt"/>
                <a:ea typeface="Calibri" panose="020F0502020204030204" pitchFamily="34" charset="0"/>
                <a:cs typeface="Times New Roman" panose="02020603050405020304" pitchFamily="18" charset="0"/>
              </a:rPr>
              <a:t>.</a:t>
            </a:r>
            <a:endParaRPr lang="en-US" kern="100" dirty="0">
              <a:effectLst/>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endParaRPr lang="en-US"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dirty="0">
                <a:latin typeface="+mn-lt"/>
              </a:rPr>
              <a:t>A</a:t>
            </a:r>
            <a:r>
              <a:rPr lang="en-US" sz="1000" b="0" dirty="0">
                <a:latin typeface="+mn-lt"/>
              </a:rPr>
              <a:t>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indent="-171450">
              <a:buFont typeface="Arial" panose="020B0604020202020204" pitchFamily="34" charset="0"/>
              <a:buChar char="•"/>
            </a:pPr>
            <a:endParaRPr lang="en-US" b="1" dirty="0">
              <a:latin typeface="+mn-lt"/>
            </a:endParaRPr>
          </a:p>
          <a:p>
            <a:pPr marL="171450" marR="0" lvl="0" indent="-171450" algn="l" defTabSz="243840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b="1" dirty="0">
                <a:effectLst/>
                <a:latin typeface="+mn-lt"/>
                <a:ea typeface="Calibri" panose="020F0502020204030204" pitchFamily="34" charset="0"/>
                <a:cs typeface="Times New Roman" panose="02020603050405020304" pitchFamily="18" charset="0"/>
              </a:rPr>
              <a:t>Parameters</a:t>
            </a:r>
            <a:r>
              <a:rPr lang="en-US" dirty="0">
                <a:effectLst/>
                <a:latin typeface="+mn-lt"/>
                <a:ea typeface="Calibri" panose="020F0502020204030204" pitchFamily="34" charset="0"/>
                <a:cs typeface="Times New Roman" panose="02020603050405020304" pitchFamily="18" charset="0"/>
              </a:rPr>
              <a:t> are numerical values that define a large language models (LLM’s) structure and behavior, like clues that help it guess what words come next. Modern systems like ChatGPT are thought to have hundreds of billions of parameters. </a:t>
            </a:r>
            <a:endParaRPr lang="en-US" sz="1000" dirty="0">
              <a:effectLst/>
              <a:latin typeface="+mn-lt"/>
              <a:ea typeface="Calibri" panose="020F050202020403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dirty="0">
              <a:latin typeface="+mn-lt"/>
              <a:ea typeface="IBM Plex Sans" charset="0"/>
              <a:cs typeface="IBM Plex Sans" charset="0"/>
            </a:endParaRPr>
          </a:p>
          <a:p>
            <a:pPr marL="171450" marR="0" lvl="0" indent="-171450" algn="l" defTabSz="2438522"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US" b="1" dirty="0">
                <a:effectLst/>
                <a:latin typeface="+mn-lt"/>
                <a:ea typeface="Times New Roman" panose="02020603050405020304" pitchFamily="18" charset="0"/>
              </a:rPr>
              <a:t>GPT</a:t>
            </a:r>
            <a:r>
              <a:rPr lang="en-US" dirty="0">
                <a:effectLst/>
                <a:latin typeface="+mn-lt"/>
                <a:ea typeface="Times New Roman" panose="02020603050405020304" pitchFamily="18" charset="0"/>
              </a:rPr>
              <a:t> stands for Generative Pre-trained Transformer and refers to a family of neural network-based large language models (LLMs) developed by OpenAI; for example, GPT-3 and GPT-4</a:t>
            </a:r>
            <a:r>
              <a:rPr lang="en-US" dirty="0">
                <a:effectLst/>
                <a:latin typeface="+mn-lt"/>
                <a:ea typeface="Calibri" panose="020F0502020204030204" pitchFamily="34" charset="0"/>
                <a:cs typeface="Times New Roman" panose="02020603050405020304" pitchFamily="18" charset="0"/>
              </a:rPr>
              <a:t>.</a:t>
            </a:r>
            <a:endParaRPr lang="en-US" sz="1000" dirty="0">
              <a:latin typeface="+mn-lt"/>
            </a:endParaRPr>
          </a:p>
          <a:p>
            <a:pPr marL="0" indent="0">
              <a:buFont typeface="+mj-lt"/>
              <a:buNone/>
            </a:pPr>
            <a:endParaRPr lang="en-US" b="1"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473539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4043166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6992067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1697"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1697"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474"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CD8BE3CE-7875-8EF6-33D3-F4321132DEF1}"/>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F0678152-4C8D-E754-4908-E87C9FFC5FB9}"/>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457988473"/>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1697"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1697"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474"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1AE1AB22-6C31-E886-C5E3-43F91197D4BA}"/>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66664371-7368-CDF5-8D8F-2AB12E754249}"/>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208039979"/>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Footer Placeholder 1">
            <a:extLst>
              <a:ext uri="{FF2B5EF4-FFF2-40B4-BE49-F238E27FC236}">
                <a16:creationId xmlns:a16="http://schemas.microsoft.com/office/drawing/2014/main" id="{2AE0D445-5C0B-B4DF-1179-D17E78364DF2}"/>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
        <p:nvSpPr>
          <p:cNvPr id="9" name="Picture Placeholder 10">
            <a:extLst>
              <a:ext uri="{FF2B5EF4-FFF2-40B4-BE49-F238E27FC236}">
                <a16:creationId xmlns:a16="http://schemas.microsoft.com/office/drawing/2014/main" id="{73526BE3-E64F-6E17-1914-BA79955784FF}"/>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61942340"/>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1">
            <a:extLst>
              <a:ext uri="{FF2B5EF4-FFF2-40B4-BE49-F238E27FC236}">
                <a16:creationId xmlns:a16="http://schemas.microsoft.com/office/drawing/2014/main" id="{B44B514D-1A3C-B9A5-7D71-C0A0BCBBF22E}"/>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611961564"/>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1">
            <a:extLst>
              <a:ext uri="{FF2B5EF4-FFF2-40B4-BE49-F238E27FC236}">
                <a16:creationId xmlns:a16="http://schemas.microsoft.com/office/drawing/2014/main" id="{B92E83BE-F8AA-6460-5C26-87451E1AE465}"/>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58856304"/>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320016322"/>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00854574"/>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AAD6F32A-5165-F803-5015-615CA94BD663}"/>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EDD594CA-296B-C12D-92B3-60F7F5786298}"/>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646390876"/>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GB"/>
              <a:t>Click icon to add table</a:t>
            </a:r>
            <a:endParaRPr lang="en-US"/>
          </a:p>
        </p:txBody>
      </p:sp>
      <p:sp>
        <p:nvSpPr>
          <p:cNvPr id="4" name="Slide Number Placeholder">
            <a:extLst>
              <a:ext uri="{FF2B5EF4-FFF2-40B4-BE49-F238E27FC236}">
                <a16:creationId xmlns:a16="http://schemas.microsoft.com/office/drawing/2014/main" id="{C85209A4-8C7F-3E14-11E4-6BF9E187E3DC}"/>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7" name="Footer Placeholder 1">
            <a:extLst>
              <a:ext uri="{FF2B5EF4-FFF2-40B4-BE49-F238E27FC236}">
                <a16:creationId xmlns:a16="http://schemas.microsoft.com/office/drawing/2014/main" id="{A5349BA9-E2ED-49AB-030C-DE8CCD071824}"/>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72758358"/>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4" name="Slide Number Placeholder">
            <a:extLst>
              <a:ext uri="{FF2B5EF4-FFF2-40B4-BE49-F238E27FC236}">
                <a16:creationId xmlns:a16="http://schemas.microsoft.com/office/drawing/2014/main" id="{05ABDC08-0398-3D57-BD7B-BD09A11D78BF}"/>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87E869D2-D2D2-56A3-0278-B005F891FC4A}"/>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70242671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8099589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GB"/>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Arial" panose="020B0604020202020204" pitchFamily="34" charset="0"/>
              </a:defRPr>
            </a:lvl1pPr>
            <a:lvl2pPr marL="73137" indent="-73137">
              <a:lnSpc>
                <a:spcPct val="120000"/>
              </a:lnSpc>
              <a:spcBef>
                <a:spcPts val="0"/>
              </a:spcBef>
              <a:defRPr sz="800" b="0" i="0">
                <a:solidFill>
                  <a:schemeClr val="tx1"/>
                </a:solidFill>
                <a:latin typeface="Arial" panose="020B0503050203000203" pitchFamily="34" charset="0"/>
              </a:defRPr>
            </a:lvl2pPr>
            <a:lvl3pPr marL="146275" indent="-73137">
              <a:lnSpc>
                <a:spcPct val="120000"/>
              </a:lnSpc>
              <a:spcBef>
                <a:spcPts val="0"/>
              </a:spcBef>
              <a:defRPr sz="800" b="0" i="0">
                <a:solidFill>
                  <a:schemeClr val="tx1"/>
                </a:solidFill>
                <a:latin typeface="Arial" panose="020B0503050203000203" pitchFamily="34" charset="0"/>
              </a:defRPr>
            </a:lvl3pPr>
            <a:lvl4pPr marL="219412" indent="-73137">
              <a:lnSpc>
                <a:spcPct val="120000"/>
              </a:lnSpc>
              <a:spcBef>
                <a:spcPts val="0"/>
              </a:spcBef>
              <a:defRPr sz="800" b="0" i="0">
                <a:solidFill>
                  <a:schemeClr val="tx1"/>
                </a:solidFill>
                <a:latin typeface="Arial" panose="020B0503050203000203" pitchFamily="34" charset="0"/>
              </a:defRPr>
            </a:lvl4pPr>
            <a:lvl5pPr>
              <a:lnSpc>
                <a:spcPct val="120000"/>
              </a:lnSpc>
              <a:spcBef>
                <a:spcPts val="0"/>
              </a:spcBef>
              <a:defRPr sz="800" b="0" i="0">
                <a:solidFill>
                  <a:schemeClr val="tx1"/>
                </a:solidFill>
                <a:latin typeface="Arial" panose="020B0503050203000203" pitchFamily="34" charset="0"/>
              </a:defRPr>
            </a:lvl5pPr>
          </a:lstStyle>
          <a:p>
            <a:pPr marL="0" marR="0" lvl="0" indent="0" algn="l" defTabSz="1218956" rtl="0" eaLnBrk="1" fontAlgn="auto" latinLnBrk="0" hangingPunct="1">
              <a:lnSpc>
                <a:spcPct val="120000"/>
              </a:lnSpc>
              <a:spcBef>
                <a:spcPts val="0"/>
              </a:spcBef>
              <a:spcAft>
                <a:spcPts val="0"/>
              </a:spcAft>
              <a:buClrTx/>
              <a:buSzTx/>
              <a:buFontTx/>
              <a:buNone/>
              <a:tabLst/>
              <a:defRPr/>
            </a:pPr>
            <a:r>
              <a:rPr lang="en-US" dirty="0"/>
              <a:t>Copy and paste appropriate legal disclaimer text from one of the three options in the PDF guidance deck, found on pages 22-24. Always use the proper legal disclaimer for your presentation audience.</a:t>
            </a:r>
          </a:p>
        </p:txBody>
      </p:sp>
      <p:sp>
        <p:nvSpPr>
          <p:cNvPr id="2" name="Slide Number Placeholder">
            <a:extLst>
              <a:ext uri="{FF2B5EF4-FFF2-40B4-BE49-F238E27FC236}">
                <a16:creationId xmlns:a16="http://schemas.microsoft.com/office/drawing/2014/main" id="{B0C15597-90DD-4E71-7E3E-A79829FF8B00}"/>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8058AD61-8D68-82CD-11D1-033FD84F0934}"/>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081584584"/>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GB"/>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Arial" panose="020B0503050203000203" pitchFamily="34" charset="0"/>
              </a:defRPr>
            </a:lvl1pPr>
            <a:lvl2pPr marL="73137" indent="-73137">
              <a:lnSpc>
                <a:spcPct val="120000"/>
              </a:lnSpc>
              <a:spcBef>
                <a:spcPts val="0"/>
              </a:spcBef>
              <a:defRPr sz="800" b="0" i="0">
                <a:solidFill>
                  <a:schemeClr val="tx1"/>
                </a:solidFill>
                <a:latin typeface="Arial" panose="020B0503050203000203" pitchFamily="34" charset="0"/>
              </a:defRPr>
            </a:lvl2pPr>
            <a:lvl3pPr marL="146275" indent="-73137">
              <a:lnSpc>
                <a:spcPct val="120000"/>
              </a:lnSpc>
              <a:spcBef>
                <a:spcPts val="0"/>
              </a:spcBef>
              <a:defRPr sz="800" b="0" i="0">
                <a:solidFill>
                  <a:schemeClr val="tx1"/>
                </a:solidFill>
                <a:latin typeface="Arial" panose="020B0503050203000203" pitchFamily="34" charset="0"/>
              </a:defRPr>
            </a:lvl3pPr>
            <a:lvl4pPr marL="219412" indent="-73137">
              <a:lnSpc>
                <a:spcPct val="120000"/>
              </a:lnSpc>
              <a:spcBef>
                <a:spcPts val="0"/>
              </a:spcBef>
              <a:defRPr sz="800" b="0" i="0">
                <a:solidFill>
                  <a:schemeClr val="tx1"/>
                </a:solidFill>
                <a:latin typeface="Arial" panose="020B0503050203000203" pitchFamily="34" charset="0"/>
              </a:defRPr>
            </a:lvl4pPr>
            <a:lvl5pPr>
              <a:lnSpc>
                <a:spcPct val="120000"/>
              </a:lnSpc>
              <a:spcBef>
                <a:spcPts val="0"/>
              </a:spcBef>
              <a:defRPr sz="800" b="0" i="0">
                <a:solidFill>
                  <a:schemeClr val="tx1"/>
                </a:solidFill>
                <a:latin typeface="Arial" panose="020B0503050203000203" pitchFamily="34" charset="0"/>
              </a:defRPr>
            </a:lvl5pPr>
          </a:lstStyle>
          <a:p>
            <a:pPr marL="0" marR="0" lvl="0" indent="0" algn="l" defTabSz="1218956" rtl="0" eaLnBrk="1" fontAlgn="auto" latinLnBrk="0" hangingPunct="1">
              <a:lnSpc>
                <a:spcPct val="120000"/>
              </a:lnSpc>
              <a:spcBef>
                <a:spcPts val="0"/>
              </a:spcBef>
              <a:spcAft>
                <a:spcPts val="0"/>
              </a:spcAft>
              <a:buClrTx/>
              <a:buSzTx/>
              <a:buFontTx/>
              <a:buNone/>
              <a:tabLst/>
              <a:defRPr/>
            </a:pPr>
            <a:r>
              <a:rPr lang="en-US" dirty="0"/>
              <a:t>Copy and paste appropriate legal disclaimer text from one of the three options in the PDF guidance deck, found on pages 22-24. Always use the proper legal disclaimer for your presentation audience.</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Arial" panose="020B0503050203000203" pitchFamily="34" charset="0"/>
              </a:defRPr>
            </a:lvl1pPr>
            <a:lvl2pPr marL="73137" indent="-73137">
              <a:lnSpc>
                <a:spcPct val="120000"/>
              </a:lnSpc>
              <a:spcBef>
                <a:spcPts val="0"/>
              </a:spcBef>
              <a:defRPr sz="800" b="0" i="0">
                <a:solidFill>
                  <a:schemeClr val="tx1"/>
                </a:solidFill>
                <a:latin typeface="Arial" panose="020B0503050203000203" pitchFamily="34" charset="0"/>
              </a:defRPr>
            </a:lvl2pPr>
            <a:lvl3pPr marL="146275" indent="-73137">
              <a:lnSpc>
                <a:spcPct val="120000"/>
              </a:lnSpc>
              <a:spcBef>
                <a:spcPts val="0"/>
              </a:spcBef>
              <a:defRPr sz="800" b="0" i="0">
                <a:solidFill>
                  <a:schemeClr val="tx1"/>
                </a:solidFill>
                <a:latin typeface="Arial" panose="020B0503050203000203" pitchFamily="34" charset="0"/>
              </a:defRPr>
            </a:lvl3pPr>
            <a:lvl4pPr marL="219412" indent="-73137">
              <a:lnSpc>
                <a:spcPct val="120000"/>
              </a:lnSpc>
              <a:spcBef>
                <a:spcPts val="0"/>
              </a:spcBef>
              <a:defRPr sz="800" b="0" i="0">
                <a:solidFill>
                  <a:schemeClr val="tx1"/>
                </a:solidFill>
                <a:latin typeface="Arial" panose="020B0503050203000203" pitchFamily="34" charset="0"/>
              </a:defRPr>
            </a:lvl4pPr>
            <a:lvl5pPr>
              <a:lnSpc>
                <a:spcPct val="120000"/>
              </a:lnSpc>
              <a:spcBef>
                <a:spcPts val="0"/>
              </a:spcBef>
              <a:defRPr sz="800" b="0" i="0">
                <a:solidFill>
                  <a:schemeClr val="tx1"/>
                </a:solidFill>
                <a:latin typeface="Arial" panose="020B0503050203000203" pitchFamily="34" charset="0"/>
              </a:defRPr>
            </a:lvl5pPr>
          </a:lstStyle>
          <a:p>
            <a:pPr marL="0" marR="0" lvl="0" indent="0" algn="l" defTabSz="1218956" rtl="0" eaLnBrk="1" fontAlgn="auto" latinLnBrk="0" hangingPunct="1">
              <a:lnSpc>
                <a:spcPct val="120000"/>
              </a:lnSpc>
              <a:spcBef>
                <a:spcPts val="0"/>
              </a:spcBef>
              <a:spcAft>
                <a:spcPts val="0"/>
              </a:spcAft>
              <a:buClrTx/>
              <a:buSzTx/>
              <a:buFontTx/>
              <a:buNone/>
              <a:tabLst/>
              <a:defRPr/>
            </a:pPr>
            <a:r>
              <a:rPr lang="en-US" dirty="0"/>
              <a:t>Copy and paste appropriate legal disclaimer text from one of the three options in the PDF guidance deck, found on pages 22-24. Always use the proper legal disclaimer for your presentation audience.</a:t>
            </a:r>
          </a:p>
        </p:txBody>
      </p:sp>
      <p:sp>
        <p:nvSpPr>
          <p:cNvPr id="2" name="Slide Number Placeholder">
            <a:extLst>
              <a:ext uri="{FF2B5EF4-FFF2-40B4-BE49-F238E27FC236}">
                <a16:creationId xmlns:a16="http://schemas.microsoft.com/office/drawing/2014/main" id="{C2491D6E-C6F3-5B1A-F1AD-E965E661C2B5}"/>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C497D4D9-479F-39EC-30EA-93C9EE3A9F20}"/>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90461769"/>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536282768"/>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258" name="Title Text"/>
          <p:cNvSpPr txBox="1">
            <a:spLocks noGrp="1"/>
          </p:cNvSpPr>
          <p:nvPr>
            <p:ph type="title"/>
          </p:nvPr>
        </p:nvSpPr>
        <p:spPr>
          <a:xfrm>
            <a:off x="889000" y="1149350"/>
            <a:ext cx="10414001" cy="2324101"/>
          </a:xfrm>
          <a:prstGeom prst="rect">
            <a:avLst/>
          </a:prstGeom>
        </p:spPr>
        <p:txBody>
          <a:bodyPr anchor="b"/>
          <a:lstStyle>
            <a:lvl1pPr algn="ctr" defTabSz="412667">
              <a:lnSpc>
                <a:spcPct val="100000"/>
              </a:lnSpc>
              <a:defRPr sz="5599" b="0" spc="0">
                <a:latin typeface="Helvetica Neue Medium"/>
                <a:ea typeface="Helvetica Neue Medium"/>
                <a:cs typeface="Helvetica Neue Medium"/>
                <a:sym typeface="Helvetica Neue Medium"/>
              </a:defRPr>
            </a:lvl1pPr>
          </a:lstStyle>
          <a:p>
            <a:r>
              <a:t>Title Text</a:t>
            </a:r>
          </a:p>
        </p:txBody>
      </p:sp>
      <p:sp>
        <p:nvSpPr>
          <p:cNvPr id="259" name="Body Level One…"/>
          <p:cNvSpPr txBox="1">
            <a:spLocks noGrp="1"/>
          </p:cNvSpPr>
          <p:nvPr>
            <p:ph type="body" sz="quarter" idx="1"/>
          </p:nvPr>
        </p:nvSpPr>
        <p:spPr>
          <a:xfrm>
            <a:off x="889000" y="3536950"/>
            <a:ext cx="10414001" cy="793750"/>
          </a:xfrm>
          <a:prstGeom prst="rect">
            <a:avLst/>
          </a:prstGeom>
        </p:spPr>
        <p:txBody>
          <a:bodyPr/>
          <a:lstStyle>
            <a:lvl1pPr marL="0" indent="0" algn="ctr" defTabSz="412667">
              <a:lnSpc>
                <a:spcPct val="100000"/>
              </a:lnSpc>
              <a:spcBef>
                <a:spcPts val="0"/>
              </a:spcBef>
              <a:buSzTx/>
              <a:buNone/>
              <a:defRPr sz="2599"/>
            </a:lvl1pPr>
            <a:lvl2pPr marL="0" indent="0" algn="ctr" defTabSz="412667">
              <a:lnSpc>
                <a:spcPct val="100000"/>
              </a:lnSpc>
              <a:spcBef>
                <a:spcPts val="0"/>
              </a:spcBef>
              <a:buSzTx/>
              <a:buNone/>
              <a:defRPr sz="2599"/>
            </a:lvl2pPr>
            <a:lvl3pPr marL="0" indent="0" algn="ctr" defTabSz="412667">
              <a:lnSpc>
                <a:spcPct val="100000"/>
              </a:lnSpc>
              <a:spcBef>
                <a:spcPts val="0"/>
              </a:spcBef>
              <a:buSzTx/>
              <a:buNone/>
              <a:defRPr sz="2599"/>
            </a:lvl3pPr>
            <a:lvl4pPr marL="0" indent="0" algn="ctr" defTabSz="412667">
              <a:lnSpc>
                <a:spcPct val="100000"/>
              </a:lnSpc>
              <a:spcBef>
                <a:spcPts val="0"/>
              </a:spcBef>
              <a:buSzTx/>
              <a:buNone/>
              <a:defRPr sz="2599"/>
            </a:lvl4pPr>
            <a:lvl5pPr marL="0" indent="0" algn="ctr" defTabSz="412667">
              <a:lnSpc>
                <a:spcPct val="100000"/>
              </a:lnSpc>
              <a:spcBef>
                <a:spcPts val="0"/>
              </a:spcBef>
              <a:buSzTx/>
              <a:buNone/>
              <a:defRPr sz="2599"/>
            </a:lvl5pPr>
          </a:lstStyle>
          <a:p>
            <a:r>
              <a:t>Body Level One</a:t>
            </a:r>
          </a:p>
          <a:p>
            <a:pPr lvl="1"/>
            <a:r>
              <a:t>Body Level Two</a:t>
            </a:r>
          </a:p>
          <a:p>
            <a:pPr lvl="2"/>
            <a:r>
              <a:t>Body Level Three</a:t>
            </a:r>
          </a:p>
          <a:p>
            <a:pPr lvl="3"/>
            <a:r>
              <a:t>Body Level Four</a:t>
            </a:r>
          </a:p>
          <a:p>
            <a:pPr lvl="4"/>
            <a:r>
              <a:t>Body Level Five</a:t>
            </a:r>
          </a:p>
        </p:txBody>
      </p:sp>
      <p:sp>
        <p:nvSpPr>
          <p:cNvPr id="260" name="Slide Number"/>
          <p:cNvSpPr txBox="1">
            <a:spLocks noGrp="1"/>
          </p:cNvSpPr>
          <p:nvPr>
            <p:ph type="sldNum" sz="quarter" idx="2"/>
          </p:nvPr>
        </p:nvSpPr>
        <p:spPr>
          <a:xfrm>
            <a:off x="6058832" y="6540501"/>
            <a:ext cx="165110" cy="184666"/>
          </a:xfrm>
          <a:prstGeom prst="rect">
            <a:avLst/>
          </a:prstGeom>
        </p:spPr>
        <p:txBody>
          <a:bodyPr anchor="t"/>
          <a:lstStyle>
            <a:lvl1pPr defTabSz="412667">
              <a:defRPr sz="1200">
                <a:latin typeface="Helvetica Neue Light"/>
                <a:ea typeface="Helvetica Neue Light"/>
                <a:cs typeface="Helvetica Neue Light"/>
                <a:sym typeface="Helvetica Neue Light"/>
              </a:defRPr>
            </a:lvl1pPr>
          </a:lstStyle>
          <a:p>
            <a:fld id="{86CB4B4D-7CA3-9044-876B-883B54F8677D}" type="slidenum">
              <a:rPr/>
              <a:t>‹#›</a:t>
            </a:fld>
            <a:endParaRPr/>
          </a:p>
        </p:txBody>
      </p:sp>
    </p:spTree>
    <p:extLst>
      <p:ext uri="{BB962C8B-B14F-4D97-AF65-F5344CB8AC3E}">
        <p14:creationId xmlns:p14="http://schemas.microsoft.com/office/powerpoint/2010/main" val="2914630932"/>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208791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0"/>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6580267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105098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613823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F1E53-0CDB-40E0-843A-16DFE9D35AD1}"/>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9EDEA678-3186-3E7A-4ECC-848E16556381}"/>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8B0A7D-9ECB-F726-5615-3830D8A0837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5C9B252-2A5F-C3FA-3748-AA3A9A410E09}"/>
              </a:ext>
            </a:extLst>
          </p:cNvPr>
          <p:cNvSpPr>
            <a:spLocks noGrp="1"/>
          </p:cNvSpPr>
          <p:nvPr>
            <p:ph type="ftr" sz="quarter" idx="11"/>
          </p:nvPr>
        </p:nvSpPr>
        <p:spPr/>
        <p:txBody>
          <a:bodyPr/>
          <a:lstStyle/>
          <a:p>
            <a:r>
              <a:rPr lang="en-US"/>
              <a:t>© 2025 cloudflight / IBM Corporation </a:t>
            </a:r>
          </a:p>
        </p:txBody>
      </p:sp>
      <p:sp>
        <p:nvSpPr>
          <p:cNvPr id="6" name="Slide Number Placeholder 5">
            <a:extLst>
              <a:ext uri="{FF2B5EF4-FFF2-40B4-BE49-F238E27FC236}">
                <a16:creationId xmlns:a16="http://schemas.microsoft.com/office/drawing/2014/main" id="{89AB423B-B4BD-B103-55E2-0CAEAF85208E}"/>
              </a:ext>
            </a:extLst>
          </p:cNvPr>
          <p:cNvSpPr>
            <a:spLocks noGrp="1"/>
          </p:cNvSpPr>
          <p:nvPr>
            <p:ph type="sldNum" sz="quarter" idx="12"/>
          </p:nvPr>
        </p:nvSpPr>
        <p:spPr/>
        <p:txBody>
          <a:bodyPr/>
          <a:lstStyle/>
          <a:p>
            <a:fld id="{124A6944-EEC2-4344-8601-83E611CC2F55}" type="slidenum">
              <a:rPr lang="en-US" smtClean="0"/>
              <a:t>‹#›</a:t>
            </a:fld>
            <a:endParaRPr lang="en-US"/>
          </a:p>
        </p:txBody>
      </p:sp>
    </p:spTree>
    <p:extLst>
      <p:ext uri="{BB962C8B-B14F-4D97-AF65-F5344CB8AC3E}">
        <p14:creationId xmlns:p14="http://schemas.microsoft.com/office/powerpoint/2010/main" val="189385624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pt-BR"/>
              <a:t>Clique para editar o título Mestre</a:t>
            </a:r>
            <a:endParaRPr lang="en-US"/>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pt-BR"/>
              <a:t>Clique no ícone para adicionar uma imagem</a:t>
            </a:r>
            <a:endParaRPr lang="en-US"/>
          </a:p>
        </p:txBody>
      </p:sp>
      <p:sp>
        <p:nvSpPr>
          <p:cNvPr id="3" name="Footer Placeholder"/>
          <p:cNvSpPr>
            <a:spLocks noGrp="1"/>
          </p:cNvSpPr>
          <p:nvPr>
            <p:ph type="ftr" sz="quarter" idx="10"/>
          </p:nvPr>
        </p:nvSpPr>
        <p:spPr>
          <a:xfrm>
            <a:off x="304889" y="6400801"/>
            <a:ext cx="5486313" cy="222250"/>
          </a:xfrm>
          <a:prstGeom prst="rect">
            <a:avLst/>
          </a:prstGeom>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86070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out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FC6A9DF3-9DBA-49D4-9C67-985BE11EA84E}"/>
              </a:ext>
            </a:extLst>
          </p:cNvPr>
          <p:cNvCxnSpPr/>
          <p:nvPr userDrawn="1"/>
        </p:nvCxnSpPr>
        <p:spPr>
          <a:xfrm>
            <a:off x="6096000" y="2493820"/>
            <a:ext cx="0" cy="1533235"/>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E677C8F5-42F5-470B-A8E1-B902BAECD8F9}"/>
              </a:ext>
            </a:extLst>
          </p:cNvPr>
          <p:cNvGrpSpPr/>
          <p:nvPr userDrawn="1"/>
        </p:nvGrpSpPr>
        <p:grpSpPr>
          <a:xfrm>
            <a:off x="838200" y="1607130"/>
            <a:ext cx="1080000" cy="2218"/>
            <a:chOff x="838200" y="1671782"/>
            <a:chExt cx="1080000" cy="2218"/>
          </a:xfrm>
        </p:grpSpPr>
        <p:cxnSp>
          <p:nvCxnSpPr>
            <p:cNvPr id="15" name="Straight Connector 14">
              <a:extLst>
                <a:ext uri="{FF2B5EF4-FFF2-40B4-BE49-F238E27FC236}">
                  <a16:creationId xmlns:a16="http://schemas.microsoft.com/office/drawing/2014/main" id="{C9463C42-6739-4794-83A8-60D992EFC233}"/>
                </a:ext>
              </a:extLst>
            </p:cNvPr>
            <p:cNvCxnSpPr>
              <a:cxnSpLocks/>
            </p:cNvCxnSpPr>
            <p:nvPr userDrawn="1"/>
          </p:nvCxnSpPr>
          <p:spPr>
            <a:xfrm>
              <a:off x="838200" y="1671782"/>
              <a:ext cx="108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8F438C0-84FE-439D-B879-26EEB936478E}"/>
                </a:ext>
              </a:extLst>
            </p:cNvPr>
            <p:cNvCxnSpPr/>
            <p:nvPr userDrawn="1"/>
          </p:nvCxnSpPr>
          <p:spPr>
            <a:xfrm>
              <a:off x="1237676" y="1674000"/>
              <a:ext cx="288000" cy="0"/>
            </a:xfrm>
            <a:prstGeom prst="line">
              <a:avLst/>
            </a:prstGeom>
            <a:ln w="38100">
              <a:solidFill>
                <a:srgbClr val="0EA5FF"/>
              </a:solidFill>
            </a:ln>
          </p:spPr>
          <p:style>
            <a:lnRef idx="1">
              <a:schemeClr val="accent1"/>
            </a:lnRef>
            <a:fillRef idx="0">
              <a:schemeClr val="accent1"/>
            </a:fillRef>
            <a:effectRef idx="0">
              <a:schemeClr val="accent1"/>
            </a:effectRef>
            <a:fontRef idx="minor">
              <a:schemeClr val="tx1"/>
            </a:fontRef>
          </p:style>
        </p:cxnSp>
      </p:grpSp>
      <p:sp>
        <p:nvSpPr>
          <p:cNvPr id="18" name="Title 22">
            <a:extLst>
              <a:ext uri="{FF2B5EF4-FFF2-40B4-BE49-F238E27FC236}">
                <a16:creationId xmlns:a16="http://schemas.microsoft.com/office/drawing/2014/main" id="{DF3A7EF9-2DBE-4F7D-8821-07F67106E55E}"/>
              </a:ext>
            </a:extLst>
          </p:cNvPr>
          <p:cNvSpPr>
            <a:spLocks noGrp="1"/>
          </p:cNvSpPr>
          <p:nvPr>
            <p:ph type="title"/>
          </p:nvPr>
        </p:nvSpPr>
        <p:spPr>
          <a:xfrm>
            <a:off x="838200" y="827683"/>
            <a:ext cx="10515600" cy="667083"/>
          </a:xfrm>
        </p:spPr>
        <p:txBody>
          <a:bodyPr/>
          <a:lstStyle/>
          <a:p>
            <a:r>
              <a:rPr lang="en-US"/>
              <a:t>Click to edit Master title style</a:t>
            </a:r>
            <a:endParaRPr lang="de-AT"/>
          </a:p>
        </p:txBody>
      </p:sp>
      <p:sp>
        <p:nvSpPr>
          <p:cNvPr id="12" name="Text Placeholder 28">
            <a:extLst>
              <a:ext uri="{FF2B5EF4-FFF2-40B4-BE49-F238E27FC236}">
                <a16:creationId xmlns:a16="http://schemas.microsoft.com/office/drawing/2014/main" id="{CE092C30-7F69-9CD5-A67F-D64812CE12AB}"/>
              </a:ext>
            </a:extLst>
          </p:cNvPr>
          <p:cNvSpPr>
            <a:spLocks noGrp="1"/>
          </p:cNvSpPr>
          <p:nvPr>
            <p:ph type="body" sz="quarter" idx="13" hasCustomPrompt="1"/>
          </p:nvPr>
        </p:nvSpPr>
        <p:spPr>
          <a:xfrm>
            <a:off x="755076" y="507136"/>
            <a:ext cx="3667125" cy="281383"/>
          </a:xfrm>
        </p:spPr>
        <p:txBody>
          <a:bodyPr vert="horz" lIns="91440" tIns="45720" rIns="91440" bIns="45720" rtlCol="0" anchor="ctr">
            <a:noAutofit/>
          </a:bodyPr>
          <a:lstStyle>
            <a:lvl1pPr marL="0" indent="0">
              <a:buNone/>
              <a:defRPr lang="en-US" sz="1500" b="0" cap="all" baseline="0" smtClean="0">
                <a:solidFill>
                  <a:schemeClr val="tx1"/>
                </a:solidFill>
                <a:ea typeface="+mj-ea"/>
                <a:cs typeface="+mj-cs"/>
              </a:defRPr>
            </a:lvl1pPr>
            <a:lvl2pPr>
              <a:defRPr lang="en-US" sz="1800" smtClean="0"/>
            </a:lvl2pPr>
            <a:lvl3pPr>
              <a:defRPr lang="en-US" sz="1800" smtClean="0"/>
            </a:lvl3pPr>
            <a:lvl4pPr>
              <a:defRPr lang="en-US" smtClean="0"/>
            </a:lvl4pPr>
            <a:lvl5pPr>
              <a:defRPr lang="de-AT"/>
            </a:lvl5pPr>
          </a:lstStyle>
          <a:p>
            <a:pPr marL="57150" lvl="0" indent="-285750">
              <a:spcBef>
                <a:spcPct val="0"/>
              </a:spcBef>
            </a:pPr>
            <a:r>
              <a:rPr lang="en-US"/>
              <a:t>Click to edit Master text styles</a:t>
            </a:r>
            <a:endParaRPr lang="de-AT"/>
          </a:p>
        </p:txBody>
      </p:sp>
      <p:sp>
        <p:nvSpPr>
          <p:cNvPr id="5" name="Oval 20">
            <a:extLst>
              <a:ext uri="{FF2B5EF4-FFF2-40B4-BE49-F238E27FC236}">
                <a16:creationId xmlns:a16="http://schemas.microsoft.com/office/drawing/2014/main" id="{0A256AC4-8A7A-03CA-8306-90E6A951AF36}"/>
              </a:ext>
            </a:extLst>
          </p:cNvPr>
          <p:cNvSpPr/>
          <p:nvPr userDrawn="1"/>
        </p:nvSpPr>
        <p:spPr>
          <a:xfrm>
            <a:off x="11055927" y="6431969"/>
            <a:ext cx="216000" cy="216000"/>
          </a:xfrm>
          <a:prstGeom prst="ellipse">
            <a:avLst/>
          </a:prstGeom>
          <a:solidFill>
            <a:srgbClr val="0EA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accent5"/>
              </a:solidFill>
            </a:endParaRPr>
          </a:p>
        </p:txBody>
      </p:sp>
      <p:sp>
        <p:nvSpPr>
          <p:cNvPr id="6" name="Slide Number Placeholder 4">
            <a:extLst>
              <a:ext uri="{FF2B5EF4-FFF2-40B4-BE49-F238E27FC236}">
                <a16:creationId xmlns:a16="http://schemas.microsoft.com/office/drawing/2014/main" id="{5B76AFFA-07E0-0250-BAF0-5275140201DE}"/>
              </a:ext>
            </a:extLst>
          </p:cNvPr>
          <p:cNvSpPr>
            <a:spLocks noGrp="1"/>
          </p:cNvSpPr>
          <p:nvPr>
            <p:ph type="sldNum" sz="quarter" idx="4"/>
          </p:nvPr>
        </p:nvSpPr>
        <p:spPr>
          <a:xfrm>
            <a:off x="10953476" y="6379995"/>
            <a:ext cx="419648" cy="365125"/>
          </a:xfrm>
          <a:prstGeom prst="rect">
            <a:avLst/>
          </a:prstGeom>
        </p:spPr>
        <p:txBody>
          <a:bodyPr vert="horz" lIns="91440" tIns="45720" rIns="91440" bIns="45720" rtlCol="0" anchor="ctr"/>
          <a:lstStyle>
            <a:lvl1pPr algn="ctr">
              <a:defRPr sz="1000" b="1">
                <a:solidFill>
                  <a:schemeClr val="bg1"/>
                </a:solidFill>
                <a:latin typeface="+mn-lt"/>
                <a:ea typeface="Calibri" panose="020F0502020204030204" pitchFamily="34" charset="0"/>
                <a:cs typeface="Calibri" panose="020F0502020204030204" pitchFamily="34" charset="0"/>
              </a:defRPr>
            </a:lvl1pPr>
          </a:lstStyle>
          <a:p>
            <a:fld id="{6C4AAD8B-84E2-4C4E-924E-7A9316CEC14E}" type="slidenum">
              <a:rPr lang="de-AT" smtClean="0"/>
              <a:pPr/>
              <a:t>‹#›</a:t>
            </a:fld>
            <a:endParaRPr lang="de-AT"/>
          </a:p>
        </p:txBody>
      </p:sp>
      <p:pic>
        <p:nvPicPr>
          <p:cNvPr id="3" name="Grafik 2">
            <a:extLst>
              <a:ext uri="{FF2B5EF4-FFF2-40B4-BE49-F238E27FC236}">
                <a16:creationId xmlns:a16="http://schemas.microsoft.com/office/drawing/2014/main" id="{5E6EA9BE-1E53-6F83-D945-81861F98812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99453" y="138596"/>
            <a:ext cx="1527693" cy="509231"/>
          </a:xfrm>
          <a:prstGeom prst="rect">
            <a:avLst/>
          </a:prstGeom>
        </p:spPr>
      </p:pic>
    </p:spTree>
    <p:extLst>
      <p:ext uri="{BB962C8B-B14F-4D97-AF65-F5344CB8AC3E}">
        <p14:creationId xmlns:p14="http://schemas.microsoft.com/office/powerpoint/2010/main" val="33738296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6"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704796685"/>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 2025 cloudflight / IBM Corporation </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95617174"/>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20"/>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8"/>
            <a:ext cx="7345035" cy="1429544"/>
          </a:xfrm>
        </p:spPr>
        <p:txBody>
          <a:bodyPr rIns="457200"/>
          <a:lstStyle>
            <a:lvl1pPr>
              <a:lnSpc>
                <a:spcPct val="100000"/>
              </a:lnSpc>
              <a:defRPr sz="3199">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94211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7"/>
            <a:ext cx="1730141" cy="690308"/>
          </a:xfrm>
          <a:prstGeom prst="rect">
            <a:avLst/>
          </a:prstGeom>
        </p:spPr>
      </p:pic>
    </p:spTree>
    <p:extLst>
      <p:ext uri="{BB962C8B-B14F-4D97-AF65-F5344CB8AC3E}">
        <p14:creationId xmlns:p14="http://schemas.microsoft.com/office/powerpoint/2010/main" val="29335384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1"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r>
              <a:rPr lang="en-US"/>
              <a:t>© 2025 cloudflight / IBM Corporation </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1"/>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8"/>
            <a:ext cx="2481638" cy="2667125"/>
          </a:xfrm>
          <a:prstGeom prst="rect">
            <a:avLst/>
          </a:prstGeom>
        </p:spPr>
        <p:txBody>
          <a:bodyPr/>
          <a:lstStyle>
            <a:lvl1pPr defTabSz="580296">
              <a:lnSpc>
                <a:spcPct val="100000"/>
              </a:lnSpc>
              <a:spcBef>
                <a:spcPts val="0"/>
              </a:spcBef>
              <a:defRPr sz="1800" b="0" i="0">
                <a:solidFill>
                  <a:schemeClr val="tx1"/>
                </a:solidFill>
                <a:latin typeface="IBM Plex Sans Light" panose="020B0403050203000203" pitchFamily="34" charset="0"/>
              </a:defRPr>
            </a:lvl1pPr>
            <a:lvl2pPr defTabSz="580296">
              <a:lnSpc>
                <a:spcPct val="100000"/>
              </a:lnSpc>
              <a:spcBef>
                <a:spcPts val="0"/>
              </a:spcBef>
              <a:defRPr sz="1800" b="0" i="0">
                <a:solidFill>
                  <a:schemeClr val="tx1"/>
                </a:solidFill>
                <a:latin typeface="IBM Plex Sans Light" panose="020B0403050203000203" pitchFamily="34" charset="0"/>
              </a:defRPr>
            </a:lvl2pPr>
            <a:lvl3pPr defTabSz="580296">
              <a:lnSpc>
                <a:spcPct val="100000"/>
              </a:lnSpc>
              <a:spcBef>
                <a:spcPts val="0"/>
              </a:spcBef>
              <a:defRPr sz="1800" b="0" i="0">
                <a:solidFill>
                  <a:schemeClr val="tx1"/>
                </a:solidFill>
                <a:latin typeface="IBM Plex Sans Light" panose="020B0403050203000203" pitchFamily="34" charset="0"/>
              </a:defRPr>
            </a:lvl3pPr>
            <a:lvl4pPr defTabSz="580296">
              <a:lnSpc>
                <a:spcPct val="100000"/>
              </a:lnSpc>
              <a:spcBef>
                <a:spcPts val="0"/>
              </a:spcBef>
              <a:defRPr sz="18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8"/>
            <a:ext cx="2481638" cy="2667125"/>
          </a:xfrm>
          <a:prstGeom prst="rect">
            <a:avLst/>
          </a:prstGeom>
        </p:spPr>
        <p:txBody>
          <a:bodyPr/>
          <a:lstStyle>
            <a:lvl1pPr defTabSz="580296">
              <a:lnSpc>
                <a:spcPct val="100000"/>
              </a:lnSpc>
              <a:spcBef>
                <a:spcPts val="0"/>
              </a:spcBef>
              <a:defRPr sz="1800" b="0" i="0">
                <a:solidFill>
                  <a:schemeClr val="tx1"/>
                </a:solidFill>
                <a:latin typeface="IBM Plex Sans Light" panose="020B0403050203000203" pitchFamily="34" charset="0"/>
              </a:defRPr>
            </a:lvl1pPr>
            <a:lvl2pPr defTabSz="580296">
              <a:lnSpc>
                <a:spcPct val="100000"/>
              </a:lnSpc>
              <a:spcBef>
                <a:spcPts val="0"/>
              </a:spcBef>
              <a:defRPr sz="1800" b="0" i="0">
                <a:solidFill>
                  <a:schemeClr val="tx1"/>
                </a:solidFill>
                <a:latin typeface="IBM Plex Sans Light" panose="020B0403050203000203" pitchFamily="34" charset="0"/>
              </a:defRPr>
            </a:lvl2pPr>
            <a:lvl3pPr defTabSz="580296">
              <a:lnSpc>
                <a:spcPct val="100000"/>
              </a:lnSpc>
              <a:spcBef>
                <a:spcPts val="0"/>
              </a:spcBef>
              <a:defRPr sz="1800" b="0" i="0">
                <a:solidFill>
                  <a:schemeClr val="tx1"/>
                </a:solidFill>
                <a:latin typeface="IBM Plex Sans Light" panose="020B0403050203000203" pitchFamily="34" charset="0"/>
              </a:defRPr>
            </a:lvl3pPr>
            <a:lvl4pPr defTabSz="580296">
              <a:lnSpc>
                <a:spcPct val="100000"/>
              </a:lnSpc>
              <a:spcBef>
                <a:spcPts val="0"/>
              </a:spcBef>
              <a:defRPr sz="18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8"/>
            <a:ext cx="2481638" cy="2667125"/>
          </a:xfrm>
          <a:prstGeom prst="rect">
            <a:avLst/>
          </a:prstGeom>
        </p:spPr>
        <p:txBody>
          <a:bodyPr/>
          <a:lstStyle>
            <a:lvl1pPr defTabSz="580296">
              <a:lnSpc>
                <a:spcPct val="100000"/>
              </a:lnSpc>
              <a:spcBef>
                <a:spcPts val="0"/>
              </a:spcBef>
              <a:defRPr sz="1800" b="0" i="0">
                <a:solidFill>
                  <a:schemeClr val="tx1"/>
                </a:solidFill>
                <a:latin typeface="IBM Plex Sans Light" panose="020B0403050203000203" pitchFamily="34" charset="0"/>
              </a:defRPr>
            </a:lvl1pPr>
            <a:lvl2pPr defTabSz="580296">
              <a:lnSpc>
                <a:spcPct val="100000"/>
              </a:lnSpc>
              <a:spcBef>
                <a:spcPts val="0"/>
              </a:spcBef>
              <a:defRPr sz="1800" b="0" i="0">
                <a:solidFill>
                  <a:schemeClr val="tx1"/>
                </a:solidFill>
                <a:latin typeface="IBM Plex Sans Light" panose="020B0403050203000203" pitchFamily="34" charset="0"/>
              </a:defRPr>
            </a:lvl2pPr>
            <a:lvl3pPr defTabSz="580296">
              <a:lnSpc>
                <a:spcPct val="100000"/>
              </a:lnSpc>
              <a:spcBef>
                <a:spcPts val="0"/>
              </a:spcBef>
              <a:defRPr sz="1800" b="0" i="0">
                <a:solidFill>
                  <a:schemeClr val="tx1"/>
                </a:solidFill>
                <a:latin typeface="IBM Plex Sans Light" panose="020B0403050203000203" pitchFamily="34" charset="0"/>
              </a:defRPr>
            </a:lvl3pPr>
            <a:lvl4pPr defTabSz="580296">
              <a:lnSpc>
                <a:spcPct val="100000"/>
              </a:lnSpc>
              <a:spcBef>
                <a:spcPts val="0"/>
              </a:spcBef>
              <a:defRPr sz="18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8"/>
            <a:ext cx="2481638" cy="2667125"/>
          </a:xfrm>
          <a:prstGeom prst="rect">
            <a:avLst/>
          </a:prstGeom>
        </p:spPr>
        <p:txBody>
          <a:bodyPr/>
          <a:lstStyle>
            <a:lvl1pPr defTabSz="580296">
              <a:lnSpc>
                <a:spcPct val="100000"/>
              </a:lnSpc>
              <a:spcBef>
                <a:spcPts val="0"/>
              </a:spcBef>
              <a:defRPr sz="1800" b="0" i="0">
                <a:solidFill>
                  <a:schemeClr val="tx1"/>
                </a:solidFill>
                <a:latin typeface="IBM Plex Sans Light" panose="020B0403050203000203" pitchFamily="34" charset="0"/>
              </a:defRPr>
            </a:lvl1pPr>
            <a:lvl2pPr defTabSz="580296">
              <a:lnSpc>
                <a:spcPct val="100000"/>
              </a:lnSpc>
              <a:spcBef>
                <a:spcPts val="0"/>
              </a:spcBef>
              <a:defRPr sz="1800" b="0" i="0">
                <a:solidFill>
                  <a:schemeClr val="tx1"/>
                </a:solidFill>
                <a:latin typeface="IBM Plex Sans Light" panose="020B0403050203000203" pitchFamily="34" charset="0"/>
              </a:defRPr>
            </a:lvl2pPr>
            <a:lvl3pPr defTabSz="580296">
              <a:lnSpc>
                <a:spcPct val="100000"/>
              </a:lnSpc>
              <a:spcBef>
                <a:spcPts val="0"/>
              </a:spcBef>
              <a:defRPr sz="1800" b="0" i="0">
                <a:solidFill>
                  <a:schemeClr val="tx1"/>
                </a:solidFill>
                <a:latin typeface="IBM Plex Sans Light" panose="020B0403050203000203" pitchFamily="34" charset="0"/>
              </a:defRPr>
            </a:lvl3pPr>
            <a:lvl4pPr defTabSz="580296">
              <a:lnSpc>
                <a:spcPct val="100000"/>
              </a:lnSpc>
              <a:spcBef>
                <a:spcPts val="0"/>
              </a:spcBef>
              <a:defRPr sz="18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3925031"/>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6754143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
  <p:cSld name="1_Boxes, 6 stacked">
    <p:spTree>
      <p:nvGrpSpPr>
        <p:cNvPr id="1" name=""/>
        <p:cNvGrpSpPr/>
        <p:nvPr/>
      </p:nvGrpSpPr>
      <p:grpSpPr>
        <a:xfrm>
          <a:off x="0" y="0"/>
          <a:ext cx="0" cy="0"/>
          <a:chOff x="0" y="0"/>
          <a:chExt cx="0" cy="0"/>
        </a:xfrm>
      </p:grpSpPr>
      <p:sp>
        <p:nvSpPr>
          <p:cNvPr id="385" name="Titeltext"/>
          <p:cNvSpPr txBox="1">
            <a:spLocks noGrp="1"/>
          </p:cNvSpPr>
          <p:nvPr>
            <p:ph type="title"/>
          </p:nvPr>
        </p:nvSpPr>
        <p:spPr>
          <a:xfrm>
            <a:off x="288036" y="288036"/>
            <a:ext cx="2474913" cy="2286794"/>
          </a:xfrm>
          <a:prstGeom prst="rect">
            <a:avLst/>
          </a:prstGeom>
        </p:spPr>
        <p:txBody>
          <a:bodyPr>
            <a:normAutofit/>
          </a:bodyPr>
          <a:lstStyle>
            <a:lvl1pPr>
              <a:lnSpc>
                <a:spcPct val="110000"/>
              </a:lnSpc>
              <a:defRPr sz="1400"/>
            </a:lvl1pPr>
          </a:lstStyle>
          <a:p>
            <a:r>
              <a:t>Titeltext</a:t>
            </a:r>
          </a:p>
        </p:txBody>
      </p:sp>
      <p:sp>
        <p:nvSpPr>
          <p:cNvPr id="386" name="Textebene 1…"/>
          <p:cNvSpPr txBox="1">
            <a:spLocks noGrp="1"/>
          </p:cNvSpPr>
          <p:nvPr>
            <p:ph type="body" sz="quarter" idx="1"/>
          </p:nvPr>
        </p:nvSpPr>
        <p:spPr>
          <a:xfrm>
            <a:off x="6381750" y="288036"/>
            <a:ext cx="2476500" cy="2572544"/>
          </a:xfrm>
          <a:prstGeom prst="rect">
            <a:avLst/>
          </a:prstGeom>
        </p:spPr>
        <p:txBody>
          <a:bodyPr>
            <a:normAutofit/>
          </a:bodyPr>
          <a:lstStyle>
            <a:lvl1pPr>
              <a:defRPr sz="1400"/>
            </a:lvl1pPr>
            <a:lvl2pPr marL="127990" indent="-127990">
              <a:defRPr sz="1400"/>
            </a:lvl2pPr>
            <a:lvl3pPr marL="255980" indent="-127990">
              <a:defRPr sz="1400"/>
            </a:lvl3pPr>
            <a:lvl4pPr marL="383971" indent="-127990">
              <a:defRPr sz="1400"/>
            </a:lvl4pPr>
            <a:lvl5pPr>
              <a:defRPr sz="1400"/>
            </a:lvl5pPr>
          </a:lstStyle>
          <a:p>
            <a:r>
              <a:t>Textebene 1</a:t>
            </a:r>
          </a:p>
          <a:p>
            <a:pPr lvl="1"/>
            <a:r>
              <a:t>Textebene 2</a:t>
            </a:r>
          </a:p>
          <a:p>
            <a:pPr lvl="2"/>
            <a:r>
              <a:t>Textebene 3</a:t>
            </a:r>
          </a:p>
          <a:p>
            <a:pPr lvl="3"/>
            <a:r>
              <a:t>Textebene 4</a:t>
            </a:r>
          </a:p>
          <a:p>
            <a:pPr lvl="4"/>
            <a:r>
              <a:t>Textebene 5</a:t>
            </a:r>
          </a:p>
        </p:txBody>
      </p:sp>
      <p:sp>
        <p:nvSpPr>
          <p:cNvPr id="387" name="Text Placeholder 12"/>
          <p:cNvSpPr>
            <a:spLocks noGrp="1"/>
          </p:cNvSpPr>
          <p:nvPr>
            <p:ph type="body" sz="quarter" idx="21"/>
          </p:nvPr>
        </p:nvSpPr>
        <p:spPr>
          <a:xfrm>
            <a:off x="9429750" y="288036"/>
            <a:ext cx="2479675" cy="2572545"/>
          </a:xfrm>
          <a:prstGeom prst="rect">
            <a:avLst/>
          </a:prstGeom>
        </p:spPr>
        <p:txBody>
          <a:bodyPr>
            <a:normAutofit/>
          </a:bodyPr>
          <a:lstStyle/>
          <a:p>
            <a:pPr>
              <a:defRPr sz="2800"/>
            </a:pPr>
            <a:endParaRPr/>
          </a:p>
        </p:txBody>
      </p:sp>
      <p:sp>
        <p:nvSpPr>
          <p:cNvPr id="388" name="Text Placeholder 4"/>
          <p:cNvSpPr>
            <a:spLocks noGrp="1"/>
          </p:cNvSpPr>
          <p:nvPr>
            <p:ph type="body" sz="quarter" idx="22"/>
          </p:nvPr>
        </p:nvSpPr>
        <p:spPr>
          <a:xfrm>
            <a:off x="6381750" y="3333750"/>
            <a:ext cx="2476500" cy="2476500"/>
          </a:xfrm>
          <a:prstGeom prst="rect">
            <a:avLst/>
          </a:prstGeom>
        </p:spPr>
        <p:txBody>
          <a:bodyPr>
            <a:normAutofit/>
          </a:bodyPr>
          <a:lstStyle/>
          <a:p>
            <a:pPr>
              <a:defRPr sz="2800"/>
            </a:pPr>
            <a:endParaRPr/>
          </a:p>
        </p:txBody>
      </p:sp>
      <p:sp>
        <p:nvSpPr>
          <p:cNvPr id="389" name="Text Placeholder 11"/>
          <p:cNvSpPr>
            <a:spLocks noGrp="1"/>
          </p:cNvSpPr>
          <p:nvPr>
            <p:ph type="body" sz="quarter" idx="23"/>
          </p:nvPr>
        </p:nvSpPr>
        <p:spPr>
          <a:xfrm>
            <a:off x="9429750" y="3333750"/>
            <a:ext cx="2476500" cy="2476500"/>
          </a:xfrm>
          <a:prstGeom prst="rect">
            <a:avLst/>
          </a:prstGeom>
        </p:spPr>
        <p:txBody>
          <a:bodyPr>
            <a:normAutofit/>
          </a:bodyPr>
          <a:lstStyle/>
          <a:p>
            <a:pPr>
              <a:defRPr sz="2800"/>
            </a:pPr>
            <a:endParaRPr/>
          </a:p>
        </p:txBody>
      </p:sp>
      <p:sp>
        <p:nvSpPr>
          <p:cNvPr id="390" name="Text Placeholder 9"/>
          <p:cNvSpPr>
            <a:spLocks noGrp="1"/>
          </p:cNvSpPr>
          <p:nvPr>
            <p:ph type="body" sz="quarter" idx="24"/>
          </p:nvPr>
        </p:nvSpPr>
        <p:spPr>
          <a:xfrm>
            <a:off x="3332988" y="288036"/>
            <a:ext cx="2476501" cy="2572545"/>
          </a:xfrm>
          <a:prstGeom prst="rect">
            <a:avLst/>
          </a:prstGeom>
        </p:spPr>
        <p:txBody>
          <a:bodyPr>
            <a:normAutofit/>
          </a:bodyPr>
          <a:lstStyle/>
          <a:p>
            <a:pPr>
              <a:defRPr sz="2800"/>
            </a:pPr>
            <a:endParaRPr/>
          </a:p>
        </p:txBody>
      </p:sp>
      <p:sp>
        <p:nvSpPr>
          <p:cNvPr id="391" name="Text Placeholder 4"/>
          <p:cNvSpPr>
            <a:spLocks noGrp="1"/>
          </p:cNvSpPr>
          <p:nvPr>
            <p:ph type="body" sz="quarter" idx="25"/>
          </p:nvPr>
        </p:nvSpPr>
        <p:spPr>
          <a:xfrm>
            <a:off x="3334576" y="3333750"/>
            <a:ext cx="2476501" cy="2476500"/>
          </a:xfrm>
          <a:prstGeom prst="rect">
            <a:avLst/>
          </a:prstGeom>
        </p:spPr>
        <p:txBody>
          <a:bodyPr>
            <a:normAutofit/>
          </a:bodyPr>
          <a:lstStyle/>
          <a:p>
            <a:pPr>
              <a:defRPr sz="2800"/>
            </a:pPr>
            <a:endParaRPr/>
          </a:p>
        </p:txBody>
      </p:sp>
      <p:sp>
        <p:nvSpPr>
          <p:cNvPr id="392" name="Foliennummer"/>
          <p:cNvSpPr txBox="1">
            <a:spLocks noGrp="1"/>
          </p:cNvSpPr>
          <p:nvPr>
            <p:ph type="sldNum" sz="quarter" idx="2"/>
          </p:nvPr>
        </p:nvSpPr>
        <p:spPr>
          <a:xfrm>
            <a:off x="11777980" y="6407865"/>
            <a:ext cx="128270" cy="246221"/>
          </a:xfrm>
          <a:prstGeom prst="rect">
            <a:avLst/>
          </a:prstGeom>
        </p:spPr>
        <p:txBody>
          <a:bodyPr anchor="ctr"/>
          <a:lstStyle/>
          <a:p>
            <a:fld id="{86CB4B4D-7CA3-9044-876B-883B54F8677D}" type="slidenum">
              <a:rPr/>
              <a:t>‹#›</a:t>
            </a:fld>
            <a:endParaRPr/>
          </a:p>
        </p:txBody>
      </p:sp>
    </p:spTree>
    <p:extLst>
      <p:ext uri="{BB962C8B-B14F-4D97-AF65-F5344CB8AC3E}">
        <p14:creationId xmlns:p14="http://schemas.microsoft.com/office/powerpoint/2010/main" val="41068181"/>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87999" y="1670659"/>
            <a:ext cx="2477765" cy="4327711"/>
          </a:xfrm>
        </p:spPr>
        <p:txBody>
          <a:bodyPr/>
          <a:lstStyle>
            <a:lvl1pPr>
              <a:lnSpc>
                <a:spcPct val="110000"/>
              </a:lnSpc>
              <a:spcBef>
                <a:spcPts val="0"/>
              </a:spcBef>
              <a:spcAft>
                <a:spcPts val="1800"/>
              </a:spcAft>
              <a:defRPr sz="1800">
                <a:solidFill>
                  <a:schemeClr val="tx1"/>
                </a:solidFill>
              </a:defRPr>
            </a:lvl1pPr>
            <a:lvl2pPr marL="128013" indent="-128013">
              <a:lnSpc>
                <a:spcPct val="110000"/>
              </a:lnSpc>
              <a:spcBef>
                <a:spcPts val="0"/>
              </a:spcBef>
              <a:spcAft>
                <a:spcPts val="1800"/>
              </a:spcAft>
              <a:defRPr sz="1800">
                <a:solidFill>
                  <a:schemeClr val="tx1"/>
                </a:solidFill>
              </a:defRPr>
            </a:lvl2pPr>
            <a:lvl3pPr marL="256026" indent="-128013">
              <a:lnSpc>
                <a:spcPct val="110000"/>
              </a:lnSpc>
              <a:spcBef>
                <a:spcPts val="0"/>
              </a:spcBef>
              <a:spcAft>
                <a:spcPts val="1800"/>
              </a:spcAft>
              <a:defRPr sz="1800">
                <a:solidFill>
                  <a:schemeClr val="tx1"/>
                </a:solidFill>
              </a:defRPr>
            </a:lvl3pPr>
            <a:lvl4pPr marL="384038" indent="-128013">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28925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x">
  <p:cSld name="2_Text, 4 columns, short dividers">
    <p:spTree>
      <p:nvGrpSpPr>
        <p:cNvPr id="1" name=""/>
        <p:cNvGrpSpPr/>
        <p:nvPr/>
      </p:nvGrpSpPr>
      <p:grpSpPr>
        <a:xfrm>
          <a:off x="0" y="0"/>
          <a:ext cx="0" cy="0"/>
          <a:chOff x="0" y="0"/>
          <a:chExt cx="0" cy="0"/>
        </a:xfrm>
      </p:grpSpPr>
      <p:sp>
        <p:nvSpPr>
          <p:cNvPr id="186" name="标题文本"/>
          <p:cNvSpPr txBox="1">
            <a:spLocks noGrp="1"/>
          </p:cNvSpPr>
          <p:nvPr>
            <p:ph type="title"/>
          </p:nvPr>
        </p:nvSpPr>
        <p:spPr>
          <a:xfrm>
            <a:off x="288000" y="288037"/>
            <a:ext cx="2474591" cy="762795"/>
          </a:xfrm>
          <a:prstGeom prst="rect">
            <a:avLst/>
          </a:prstGeom>
        </p:spPr>
        <p:txBody>
          <a:bodyPr>
            <a:normAutofit/>
          </a:bodyPr>
          <a:lstStyle>
            <a:lvl1pPr>
              <a:lnSpc>
                <a:spcPct val="110000"/>
              </a:lnSpc>
              <a:defRPr sz="1400"/>
            </a:lvl1pPr>
          </a:lstStyle>
          <a:p>
            <a:r>
              <a:t>标题文本</a:t>
            </a:r>
          </a:p>
        </p:txBody>
      </p:sp>
      <p:sp>
        <p:nvSpPr>
          <p:cNvPr id="187" name="正文级别 1…"/>
          <p:cNvSpPr txBox="1">
            <a:spLocks noGrp="1"/>
          </p:cNvSpPr>
          <p:nvPr>
            <p:ph type="body" sz="quarter" idx="1"/>
          </p:nvPr>
        </p:nvSpPr>
        <p:spPr>
          <a:xfrm>
            <a:off x="3333320" y="1714501"/>
            <a:ext cx="2475385" cy="4286251"/>
          </a:xfrm>
          <a:prstGeom prst="rect">
            <a:avLst/>
          </a:prstGeom>
        </p:spPr>
        <p:txBody>
          <a:bodyPr>
            <a:normAutofit/>
          </a:bodyPr>
          <a:lstStyle>
            <a:lvl1pPr>
              <a:defRPr sz="1000">
                <a:latin typeface="IBM Plex Sans"/>
                <a:ea typeface="IBM Plex Sans"/>
                <a:cs typeface="IBM Plex Sans"/>
                <a:sym typeface="IBM Plex Sans"/>
              </a:defRPr>
            </a:lvl1pPr>
            <a:lvl2pPr marL="91386" indent="-91386">
              <a:defRPr sz="1000">
                <a:latin typeface="IBM Plex Sans"/>
                <a:ea typeface="IBM Plex Sans"/>
                <a:cs typeface="IBM Plex Sans"/>
                <a:sym typeface="IBM Plex Sans"/>
              </a:defRPr>
            </a:lvl2pPr>
            <a:lvl3pPr marL="137075" indent="-91386">
              <a:defRPr sz="1000">
                <a:latin typeface="IBM Plex Sans"/>
                <a:ea typeface="IBM Plex Sans"/>
                <a:cs typeface="IBM Plex Sans"/>
                <a:sym typeface="IBM Plex Sans"/>
              </a:defRPr>
            </a:lvl3pPr>
            <a:lvl4pPr marL="182766" indent="-91386">
              <a:defRPr sz="1000">
                <a:latin typeface="IBM Plex Sans"/>
                <a:ea typeface="IBM Plex Sans"/>
                <a:cs typeface="IBM Plex Sans"/>
                <a:sym typeface="IBM Plex Sans"/>
              </a:defRPr>
            </a:lvl4pPr>
            <a:lvl5pPr>
              <a:defRPr sz="1000">
                <a:latin typeface="IBM Plex Sans"/>
                <a:ea typeface="IBM Plex Sans"/>
                <a:cs typeface="IBM Plex Sans"/>
                <a:sym typeface="IBM Plex Sans"/>
              </a:defRPr>
            </a:lvl5pPr>
          </a:lstStyle>
          <a:p>
            <a:r>
              <a:t>正文级别 1</a:t>
            </a:r>
          </a:p>
          <a:p>
            <a:pPr lvl="1"/>
            <a:r>
              <a:t>正文级别 2</a:t>
            </a:r>
          </a:p>
          <a:p>
            <a:pPr lvl="2"/>
            <a:r>
              <a:t>正文级别 3</a:t>
            </a:r>
          </a:p>
          <a:p>
            <a:pPr lvl="3"/>
            <a:r>
              <a:t>正文级别 4</a:t>
            </a:r>
          </a:p>
          <a:p>
            <a:pPr lvl="4"/>
            <a:r>
              <a:t>正文级别 5</a:t>
            </a:r>
          </a:p>
        </p:txBody>
      </p:sp>
      <p:sp>
        <p:nvSpPr>
          <p:cNvPr id="188" name="Text Placeholder 8"/>
          <p:cNvSpPr>
            <a:spLocks noGrp="1"/>
          </p:cNvSpPr>
          <p:nvPr>
            <p:ph type="body" sz="quarter" idx="21"/>
          </p:nvPr>
        </p:nvSpPr>
        <p:spPr>
          <a:xfrm>
            <a:off x="6380923" y="1714501"/>
            <a:ext cx="2476179"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89" name="Text Placeholder 10"/>
          <p:cNvSpPr>
            <a:spLocks noGrp="1"/>
          </p:cNvSpPr>
          <p:nvPr>
            <p:ph type="body" sz="quarter" idx="22"/>
          </p:nvPr>
        </p:nvSpPr>
        <p:spPr>
          <a:xfrm>
            <a:off x="9428524" y="1714501"/>
            <a:ext cx="2479353"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0" name="Text Placeholder 5"/>
          <p:cNvSpPr>
            <a:spLocks noGrp="1"/>
          </p:cNvSpPr>
          <p:nvPr>
            <p:ph type="body" sz="quarter" idx="23"/>
          </p:nvPr>
        </p:nvSpPr>
        <p:spPr>
          <a:xfrm>
            <a:off x="3333319" y="288037"/>
            <a:ext cx="2477767" cy="762795"/>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1" name="Text Placeholder 6"/>
          <p:cNvSpPr>
            <a:spLocks noGrp="1"/>
          </p:cNvSpPr>
          <p:nvPr>
            <p:ph type="body" sz="quarter" idx="24"/>
          </p:nvPr>
        </p:nvSpPr>
        <p:spPr>
          <a:xfrm>
            <a:off x="289683" y="1714501"/>
            <a:ext cx="2475384"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95" name="幻灯片编号"/>
          <p:cNvSpPr txBox="1">
            <a:spLocks noGrp="1"/>
          </p:cNvSpPr>
          <p:nvPr>
            <p:ph type="sldNum" sz="quarter" idx="2"/>
          </p:nvPr>
        </p:nvSpPr>
        <p:spPr>
          <a:xfrm>
            <a:off x="11779669" y="6469423"/>
            <a:ext cx="125034" cy="123111"/>
          </a:xfrm>
          <a:prstGeom prst="rect">
            <a:avLst/>
          </a:prstGeom>
        </p:spPr>
        <p:txBody>
          <a:bodyPr anchor="ctr"/>
          <a:lstStyle/>
          <a:p>
            <a:fld id="{86CB4B4D-7CA3-9044-876B-883B54F8677D}" type="slidenum">
              <a:rPr/>
              <a:t>‹#›</a:t>
            </a:fld>
            <a:endParaRPr/>
          </a:p>
        </p:txBody>
      </p:sp>
    </p:spTree>
    <p:extLst>
      <p:ext uri="{BB962C8B-B14F-4D97-AF65-F5344CB8AC3E}">
        <p14:creationId xmlns:p14="http://schemas.microsoft.com/office/powerpoint/2010/main" val="53943310"/>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ext, 2 wide columns">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 2025 cloudflight / IBM Corporation </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1" y="6469440"/>
            <a:ext cx="136791" cy="123073"/>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AFA926AC-BDD1-14DA-06A2-A77D3EA79FDD}"/>
              </a:ext>
            </a:extLst>
          </p:cNvPr>
          <p:cNvSpPr>
            <a:spLocks noGrp="1"/>
          </p:cNvSpPr>
          <p:nvPr>
            <p:ph type="title"/>
          </p:nvPr>
        </p:nvSpPr>
        <p:spPr>
          <a:xfrm>
            <a:off x="288001" y="192025"/>
            <a:ext cx="8569097" cy="1121108"/>
          </a:xfrm>
        </p:spPr>
        <p:txBody>
          <a:bodyPr/>
          <a:lstStyle>
            <a:lvl1pPr>
              <a:lnSpc>
                <a:spcPct val="100000"/>
              </a:lnSpc>
              <a:defRPr sz="32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693854415"/>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97588"/>
          </a:xfrm>
          <a:solidFill>
            <a:srgbClr val="E0E0E0"/>
          </a:solidFill>
        </p:spPr>
        <p:txBody>
          <a:bodyPr anchor="ctr"/>
          <a:lstStyle>
            <a:lvl1pPr algn="ctr">
              <a:defRPr>
                <a:solidFill>
                  <a:schemeClr val="accent5"/>
                </a:solidFill>
              </a:defRPr>
            </a:lvl1pPr>
          </a:lstStyle>
          <a:p>
            <a:r>
              <a:rPr lang="en-US"/>
              <a:t>Place imagery her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63" y="6083300"/>
            <a:ext cx="2470906" cy="537147"/>
          </a:xfrm>
        </p:spPr>
        <p:txBody>
          <a:bodyPr anchor="b"/>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09935B61-CCB4-2F0F-6720-2DE3FDE1A05B}"/>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10" name="Title 1">
            <a:extLst>
              <a:ext uri="{FF2B5EF4-FFF2-40B4-BE49-F238E27FC236}">
                <a16:creationId xmlns:a16="http://schemas.microsoft.com/office/drawing/2014/main" id="{3F3BE6BB-D7C0-3C9B-44F9-5D564E48D8B6}"/>
              </a:ext>
            </a:extLst>
          </p:cNvPr>
          <p:cNvSpPr>
            <a:spLocks noGrp="1"/>
          </p:cNvSpPr>
          <p:nvPr>
            <p:ph type="title"/>
          </p:nvPr>
        </p:nvSpPr>
        <p:spPr>
          <a:xfrm>
            <a:off x="287963" y="288000"/>
            <a:ext cx="5049878" cy="3654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738733366"/>
      </p:ext>
    </p:extLst>
  </p:cSld>
  <p:clrMapOvr>
    <a:masterClrMapping/>
  </p:clrMapOvr>
  <p:transition spd="med"/>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3_Custom Layout">
    <p:spTree>
      <p:nvGrpSpPr>
        <p:cNvPr id="1" name=""/>
        <p:cNvGrpSpPr/>
        <p:nvPr/>
      </p:nvGrpSpPr>
      <p:grpSpPr>
        <a:xfrm>
          <a:off x="0" y="0"/>
          <a:ext cx="0" cy="0"/>
          <a:chOff x="0" y="0"/>
          <a:chExt cx="0" cy="0"/>
        </a:xfrm>
      </p:grpSpPr>
      <p:sp>
        <p:nvSpPr>
          <p:cNvPr id="857" name="Rectangle 1"/>
          <p:cNvSpPr/>
          <p:nvPr/>
        </p:nvSpPr>
        <p:spPr>
          <a:xfrm>
            <a:off x="0" y="0"/>
            <a:ext cx="12192000" cy="6858000"/>
          </a:xfrm>
          <a:prstGeom prst="rect">
            <a:avLst/>
          </a:prstGeom>
          <a:solidFill>
            <a:srgbClr val="FFFFFF"/>
          </a:solidFill>
          <a:ln w="12700">
            <a:miter lim="400000"/>
          </a:ln>
        </p:spPr>
        <p:txBody>
          <a:bodyPr tIns="45708" bIns="45708" anchor="ctr"/>
          <a:lstStyle/>
          <a:p>
            <a:pPr defTabSz="914366">
              <a:defRPr sz="2200">
                <a:solidFill>
                  <a:srgbClr val="FFFFFF"/>
                </a:solidFill>
                <a:latin typeface="Arial"/>
                <a:ea typeface="Arial"/>
                <a:cs typeface="Arial"/>
                <a:sym typeface="Arial"/>
              </a:defRPr>
            </a:pPr>
            <a:endParaRPr sz="1100"/>
          </a:p>
        </p:txBody>
      </p:sp>
      <p:sp>
        <p:nvSpPr>
          <p:cNvPr id="858" name="Title Text"/>
          <p:cNvSpPr txBox="1">
            <a:spLocks noGrp="1"/>
          </p:cNvSpPr>
          <p:nvPr>
            <p:ph type="title"/>
          </p:nvPr>
        </p:nvSpPr>
        <p:spPr>
          <a:xfrm>
            <a:off x="491494" y="251667"/>
            <a:ext cx="11286068" cy="582053"/>
          </a:xfrm>
          <a:prstGeom prst="rect">
            <a:avLst/>
          </a:prstGeom>
        </p:spPr>
        <p:txBody>
          <a:bodyPr lIns="0" tIns="0" rIns="0" bIns="0" anchor="ctr"/>
          <a:lstStyle>
            <a:lvl1pPr defTabSz="914366">
              <a:lnSpc>
                <a:spcPct val="100000"/>
              </a:lnSpc>
              <a:defRPr sz="3200" b="0" spc="0">
                <a:solidFill>
                  <a:srgbClr val="0D0D0D"/>
                </a:solidFill>
                <a:latin typeface="Arial"/>
                <a:ea typeface="Arial"/>
                <a:cs typeface="Arial"/>
                <a:sym typeface="Arial"/>
              </a:defRPr>
            </a:lvl1pPr>
          </a:lstStyle>
          <a:p>
            <a:r>
              <a:t>Title Text</a:t>
            </a:r>
          </a:p>
        </p:txBody>
      </p:sp>
      <p:sp>
        <p:nvSpPr>
          <p:cNvPr id="859" name="Slide Number"/>
          <p:cNvSpPr txBox="1">
            <a:spLocks noGrp="1"/>
          </p:cNvSpPr>
          <p:nvPr>
            <p:ph type="sldNum" sz="quarter" idx="2"/>
          </p:nvPr>
        </p:nvSpPr>
        <p:spPr>
          <a:xfrm>
            <a:off x="255595" y="6312384"/>
            <a:ext cx="534812" cy="529683"/>
          </a:xfrm>
          <a:prstGeom prst="rect">
            <a:avLst/>
          </a:prstGeom>
        </p:spPr>
        <p:txBody>
          <a:bodyPr lIns="163220" tIns="163220" rIns="163220" bIns="163220" anchor="ctr"/>
          <a:lstStyle>
            <a:lvl1pPr algn="l" defTabSz="914366">
              <a:defRPr sz="1300">
                <a:solidFill>
                  <a:srgbClr val="A6A6A6"/>
                </a:solidFill>
                <a:latin typeface="Arial MT Std Light"/>
                <a:ea typeface="Arial MT Std Light"/>
                <a:cs typeface="Arial MT Std Light"/>
                <a:sym typeface="Arial MT Std Light"/>
              </a:defRPr>
            </a:lvl1pPr>
          </a:lstStyle>
          <a:p>
            <a:fld id="{86CB4B4D-7CA3-9044-876B-883B54F8677D}" type="slidenum">
              <a:t>‹#›</a:t>
            </a:fld>
            <a:endParaRPr/>
          </a:p>
        </p:txBody>
      </p:sp>
    </p:spTree>
    <p:extLst>
      <p:ext uri="{BB962C8B-B14F-4D97-AF65-F5344CB8AC3E}">
        <p14:creationId xmlns:p14="http://schemas.microsoft.com/office/powerpoint/2010/main" val="4027444968"/>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A657DB-2111-8FF6-448C-4224B3CE5A03}"/>
              </a:ext>
            </a:extLst>
          </p:cNvPr>
          <p:cNvSpPr/>
          <p:nvPr userDrawn="1"/>
        </p:nvSpPr>
        <p:spPr>
          <a:xfrm flipH="1">
            <a:off x="1" y="0"/>
            <a:ext cx="3047603"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00" b="0" i="0" dirty="0">
              <a:latin typeface="Arial Regular" charset="0"/>
            </a:endParaRP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3332556" y="192025"/>
            <a:ext cx="8095957" cy="5808727"/>
          </a:xfrm>
        </p:spPr>
        <p:txBody>
          <a:bodyPr/>
          <a:lstStyle>
            <a:lvl1pPr>
              <a:spcBef>
                <a:spcPts val="800"/>
              </a:spcBef>
              <a:defRPr sz="1400" b="0" i="0">
                <a:solidFill>
                  <a:schemeClr val="tx1"/>
                </a:solidFill>
                <a:latin typeface="IBM Plex Sans Light" panose="020B0403050203000203" pitchFamily="34" charset="0"/>
              </a:defRPr>
            </a:lvl1pPr>
            <a:lvl2pPr marL="127974" indent="-127974">
              <a:spcBef>
                <a:spcPts val="800"/>
              </a:spcBef>
              <a:defRPr sz="1400" b="0" i="0">
                <a:solidFill>
                  <a:schemeClr val="tx1"/>
                </a:solidFill>
                <a:latin typeface="IBM Plex Sans Light" panose="020B0403050203000203" pitchFamily="34" charset="0"/>
              </a:defRPr>
            </a:lvl2pPr>
            <a:lvl3pPr marL="255948" indent="-127974">
              <a:spcBef>
                <a:spcPts val="800"/>
              </a:spcBef>
              <a:defRPr sz="1400" b="0" i="0">
                <a:solidFill>
                  <a:schemeClr val="tx1"/>
                </a:solidFill>
                <a:latin typeface="IBM Plex Sans Light" panose="020B0403050203000203" pitchFamily="34" charset="0"/>
              </a:defRPr>
            </a:lvl3pPr>
            <a:lvl4pPr marL="383924" indent="-127974">
              <a:spcBef>
                <a:spcPts val="80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 2025 cloudflight / IBM Corporation </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1" y="6469440"/>
            <a:ext cx="136791" cy="123073"/>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F4EEFAF6-95D5-C226-3425-797A32720A6E}"/>
              </a:ext>
            </a:extLst>
          </p:cNvPr>
          <p:cNvSpPr>
            <a:spLocks noGrp="1"/>
          </p:cNvSpPr>
          <p:nvPr>
            <p:ph type="title"/>
          </p:nvPr>
        </p:nvSpPr>
        <p:spPr>
          <a:xfrm>
            <a:off x="288000" y="192024"/>
            <a:ext cx="2470717" cy="1429544"/>
          </a:xfrm>
        </p:spPr>
        <p:txBody>
          <a:bodyPr/>
          <a:lstStyle>
            <a:lvl1pPr>
              <a:lnSpc>
                <a:spcPct val="100000"/>
              </a:lnSpc>
              <a:defRPr sz="266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056195509"/>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54426880"/>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8746440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458812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27511098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Tree>
    <p:extLst>
      <p:ext uri="{BB962C8B-B14F-4D97-AF65-F5344CB8AC3E}">
        <p14:creationId xmlns:p14="http://schemas.microsoft.com/office/powerpoint/2010/main" val="165795616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Drag picture to placeholder or click icon to add</a:t>
            </a:r>
          </a:p>
        </p:txBody>
      </p:sp>
    </p:spTree>
    <p:extLst>
      <p:ext uri="{BB962C8B-B14F-4D97-AF65-F5344CB8AC3E}">
        <p14:creationId xmlns:p14="http://schemas.microsoft.com/office/powerpoint/2010/main" val="425937298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a:latin typeface="+mn-lt"/>
              </a:defRPr>
            </a:lvl1pPr>
          </a:lstStyle>
          <a:p>
            <a:r>
              <a:rPr lang="en-US" dirty="0"/>
              <a:t>Click to edit Master title style</a:t>
            </a:r>
          </a:p>
        </p:txBody>
      </p:sp>
    </p:spTree>
    <p:extLst>
      <p:ext uri="{BB962C8B-B14F-4D97-AF65-F5344CB8AC3E}">
        <p14:creationId xmlns:p14="http://schemas.microsoft.com/office/powerpoint/2010/main" val="209972746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dirty="0"/>
              <a:t>Click to edit Master title style</a:t>
            </a:r>
          </a:p>
        </p:txBody>
      </p:sp>
    </p:spTree>
    <p:extLst>
      <p:ext uri="{BB962C8B-B14F-4D97-AF65-F5344CB8AC3E}">
        <p14:creationId xmlns:p14="http://schemas.microsoft.com/office/powerpoint/2010/main" val="3504524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1"/>
            <a:ext cx="12192000" cy="6097588"/>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a:endParaRPr>
          </a:p>
        </p:txBody>
      </p:sp>
      <p:pic>
        <p:nvPicPr>
          <p:cNvPr id="7" name="Picture 6" descr="IBM 8-bar logo">
            <a:extLst>
              <a:ext uri="{FF2B5EF4-FFF2-40B4-BE49-F238E27FC236}">
                <a16:creationId xmlns:a16="http://schemas.microsoft.com/office/drawing/2014/main" id="{B4B109D8-FCAE-74D0-0B39-85BF626C84C5}"/>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8" name="Text Placeholder 6">
            <a:extLst>
              <a:ext uri="{FF2B5EF4-FFF2-40B4-BE49-F238E27FC236}">
                <a16:creationId xmlns:a16="http://schemas.microsoft.com/office/drawing/2014/main" id="{A9FACBA3-656A-1C9D-A350-7759736DCC4B}"/>
              </a:ext>
            </a:extLst>
          </p:cNvPr>
          <p:cNvSpPr>
            <a:spLocks noGrp="1"/>
          </p:cNvSpPr>
          <p:nvPr>
            <p:ph type="body" sz="quarter" idx="12"/>
          </p:nvPr>
        </p:nvSpPr>
        <p:spPr>
          <a:xfrm>
            <a:off x="287963" y="6083300"/>
            <a:ext cx="2470906" cy="537147"/>
          </a:xfrm>
        </p:spPr>
        <p:txBody>
          <a:bodyPr anchor="b"/>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5">
            <a:extLst>
              <a:ext uri="{FF2B5EF4-FFF2-40B4-BE49-F238E27FC236}">
                <a16:creationId xmlns:a16="http://schemas.microsoft.com/office/drawing/2014/main" id="{FA47F09F-F9D8-7B01-E53E-EE9451C6A6EB}"/>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
            <a:extLst>
              <a:ext uri="{FF2B5EF4-FFF2-40B4-BE49-F238E27FC236}">
                <a16:creationId xmlns:a16="http://schemas.microsoft.com/office/drawing/2014/main" id="{B8FFB679-F0FF-1DD1-8243-9D4ADEF3889F}"/>
              </a:ext>
            </a:extLst>
          </p:cNvPr>
          <p:cNvSpPr>
            <a:spLocks noGrp="1"/>
          </p:cNvSpPr>
          <p:nvPr>
            <p:ph type="title"/>
          </p:nvPr>
        </p:nvSpPr>
        <p:spPr>
          <a:xfrm>
            <a:off x="287963" y="288000"/>
            <a:ext cx="5049878" cy="3654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3590815419"/>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134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456548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122204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39586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249115639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847604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dirty="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91785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61255913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Tree>
    <p:extLst>
      <p:ext uri="{BB962C8B-B14F-4D97-AF65-F5344CB8AC3E}">
        <p14:creationId xmlns:p14="http://schemas.microsoft.com/office/powerpoint/2010/main" val="225053318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Tree>
    <p:extLst>
      <p:ext uri="{BB962C8B-B14F-4D97-AF65-F5344CB8AC3E}">
        <p14:creationId xmlns:p14="http://schemas.microsoft.com/office/powerpoint/2010/main" val="1968580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E4F73B63-FCC7-DAFC-5E97-E0D29B2DBF2C}"/>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8" name="Title 1">
            <a:extLst>
              <a:ext uri="{FF2B5EF4-FFF2-40B4-BE49-F238E27FC236}">
                <a16:creationId xmlns:a16="http://schemas.microsoft.com/office/drawing/2014/main" id="{31EEBBCD-6628-78CD-1209-20B2834A647D}"/>
              </a:ext>
            </a:extLst>
          </p:cNvPr>
          <p:cNvSpPr>
            <a:spLocks noGrp="1"/>
          </p:cNvSpPr>
          <p:nvPr>
            <p:ph type="title"/>
          </p:nvPr>
        </p:nvSpPr>
        <p:spPr>
          <a:xfrm>
            <a:off x="287963" y="288000"/>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1662769130"/>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157000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rgbClr val="161616"/>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15902542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195114650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rgbClr val="FFFFFF"/>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338579452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3429000"/>
            <a:ext cx="3048004" cy="3429000"/>
          </a:xfrm>
          <a:solidFill>
            <a:srgbClr val="FFFFFF"/>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41411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F62FE"/>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02D9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01D6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80033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333376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49162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lvl1pPr>
            <a:lvl2pPr>
              <a:spcBef>
                <a:spcPts val="0"/>
              </a:spcBef>
              <a:defRPr sz="1867"/>
            </a:lvl2pPr>
            <a:lvl3pPr>
              <a:spcBef>
                <a:spcPts val="0"/>
              </a:spcBef>
              <a:defRPr sz="1867"/>
            </a:lvl3pPr>
            <a:lvl4pPr>
              <a:spcBef>
                <a:spcPts val="0"/>
              </a:spcBef>
              <a:defRPr sz="1867"/>
            </a:lvl4pPr>
            <a:lvl5pPr>
              <a:spcBef>
                <a:spcPts val="0"/>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Tree>
    <p:extLst>
      <p:ext uri="{BB962C8B-B14F-4D97-AF65-F5344CB8AC3E}">
        <p14:creationId xmlns:p14="http://schemas.microsoft.com/office/powerpoint/2010/main" val="298672079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83512"/>
            <a:ext cx="2450592" cy="4336288"/>
          </a:xfrm>
        </p:spPr>
        <p:txBody>
          <a:bodyPr/>
          <a:lstStyle>
            <a:lvl1pPr marL="0" indent="0" algn="l" rtl="0" eaLnBrk="1" fontAlgn="base" hangingPunct="1">
              <a:lnSpc>
                <a:spcPct val="100000"/>
              </a:lnSpc>
              <a:spcBef>
                <a:spcPts val="0"/>
              </a:spcBef>
              <a:spcAft>
                <a:spcPct val="0"/>
              </a:spcAft>
              <a:buClr>
                <a:schemeClr val="tx1"/>
              </a:buClr>
              <a:buFont typeface="Arial" panose="020B0604020202020204" pitchFamily="34" charset="0"/>
              <a:buNone/>
              <a:tabLst/>
              <a:defRPr lang="en-US" sz="1867" b="0" i="0" dirty="0">
                <a:solidFill>
                  <a:schemeClr val="tx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09874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lain,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63" y="6239574"/>
            <a:ext cx="5518504"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4" name="Picture 3" descr="IBM 8-bar logo">
            <a:extLst>
              <a:ext uri="{FF2B5EF4-FFF2-40B4-BE49-F238E27FC236}">
                <a16:creationId xmlns:a16="http://schemas.microsoft.com/office/drawing/2014/main" id="{81A5AEF9-6465-6773-9724-1305F8245375}"/>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10" name="Title 1">
            <a:extLst>
              <a:ext uri="{FF2B5EF4-FFF2-40B4-BE49-F238E27FC236}">
                <a16:creationId xmlns:a16="http://schemas.microsoft.com/office/drawing/2014/main" id="{D0F40089-D6C5-B905-B7FE-24BFF3580F12}"/>
              </a:ext>
            </a:extLst>
          </p:cNvPr>
          <p:cNvSpPr>
            <a:spLocks noGrp="1"/>
          </p:cNvSpPr>
          <p:nvPr>
            <p:ph type="title"/>
          </p:nvPr>
        </p:nvSpPr>
        <p:spPr>
          <a:xfrm>
            <a:off x="287963" y="288000"/>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3819019597"/>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dirty="0"/>
              <a:t>Click icon to add table</a:t>
            </a:r>
          </a:p>
        </p:txBody>
      </p:sp>
    </p:spTree>
    <p:extLst>
      <p:ext uri="{BB962C8B-B14F-4D97-AF65-F5344CB8AC3E}">
        <p14:creationId xmlns:p14="http://schemas.microsoft.com/office/powerpoint/2010/main" val="366700018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48378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58767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23184652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Tree>
    <p:extLst>
      <p:ext uri="{BB962C8B-B14F-4D97-AF65-F5344CB8AC3E}">
        <p14:creationId xmlns:p14="http://schemas.microsoft.com/office/powerpoint/2010/main" val="199758143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77011567"/>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27FB27-433F-22FA-E31D-ABDE8DA687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3081D7B-67A5-88C8-0927-33EDC148A7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19BDE6-190A-BE35-AE6F-368CDAC8AB6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9ECEF32-2500-A9F1-F1C1-EABAAC294C3A}"/>
              </a:ext>
            </a:extLst>
          </p:cNvPr>
          <p:cNvSpPr>
            <a:spLocks noGrp="1"/>
          </p:cNvSpPr>
          <p:nvPr>
            <p:ph type="ftr" sz="quarter" idx="11"/>
          </p:nvPr>
        </p:nvSpPr>
        <p:spPr/>
        <p:txBody>
          <a:bodyPr/>
          <a:lstStyle/>
          <a:p>
            <a:r>
              <a:rPr lang="en-US"/>
              <a:t>© 2025 cloudflight / IBM Corporation </a:t>
            </a:r>
          </a:p>
        </p:txBody>
      </p:sp>
      <p:sp>
        <p:nvSpPr>
          <p:cNvPr id="6" name="Slide Number Placeholder 5">
            <a:extLst>
              <a:ext uri="{FF2B5EF4-FFF2-40B4-BE49-F238E27FC236}">
                <a16:creationId xmlns:a16="http://schemas.microsoft.com/office/drawing/2014/main" id="{26C320F1-79EC-8440-16AD-D260535DD4BE}"/>
              </a:ext>
            </a:extLst>
          </p:cNvPr>
          <p:cNvSpPr>
            <a:spLocks noGrp="1"/>
          </p:cNvSpPr>
          <p:nvPr>
            <p:ph type="sldNum" sz="quarter" idx="12"/>
          </p:nvPr>
        </p:nvSpPr>
        <p:spPr/>
        <p:txBody>
          <a:bodyPr/>
          <a:lstStyle/>
          <a:p>
            <a:fld id="{2C08397F-1118-4B80-8DD7-67C1417E7DAC}" type="slidenum">
              <a:rPr lang="en-US" smtClean="0"/>
              <a:t>‹#›</a:t>
            </a:fld>
            <a:endParaRPr lang="en-US"/>
          </a:p>
        </p:txBody>
      </p:sp>
    </p:spTree>
    <p:extLst>
      <p:ext uri="{BB962C8B-B14F-4D97-AF65-F5344CB8AC3E}">
        <p14:creationId xmlns:p14="http://schemas.microsoft.com/office/powerpoint/2010/main" val="106246889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22749970"/>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8" y="282578"/>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88001" y="1670659"/>
            <a:ext cx="2477765" cy="4327710"/>
          </a:xfrm>
        </p:spPr>
        <p:txBody>
          <a:bodyPr/>
          <a:lstStyle>
            <a:lvl1pPr>
              <a:lnSpc>
                <a:spcPct val="110000"/>
              </a:lnSpc>
              <a:spcBef>
                <a:spcPts val="0"/>
              </a:spcBef>
              <a:spcAft>
                <a:spcPts val="1800"/>
              </a:spcAft>
              <a:defRPr sz="1800">
                <a:solidFill>
                  <a:schemeClr val="tx1"/>
                </a:solidFill>
              </a:defRPr>
            </a:lvl1pPr>
            <a:lvl2pPr marL="127938" indent="-127938">
              <a:lnSpc>
                <a:spcPct val="110000"/>
              </a:lnSpc>
              <a:spcBef>
                <a:spcPts val="0"/>
              </a:spcBef>
              <a:spcAft>
                <a:spcPts val="1800"/>
              </a:spcAft>
              <a:defRPr sz="1800">
                <a:solidFill>
                  <a:schemeClr val="tx1"/>
                </a:solidFill>
              </a:defRPr>
            </a:lvl2pPr>
            <a:lvl3pPr marL="255879" indent="-127938">
              <a:lnSpc>
                <a:spcPct val="110000"/>
              </a:lnSpc>
              <a:spcBef>
                <a:spcPts val="0"/>
              </a:spcBef>
              <a:spcAft>
                <a:spcPts val="1800"/>
              </a:spcAft>
              <a:defRPr sz="1800">
                <a:solidFill>
                  <a:schemeClr val="tx1"/>
                </a:solidFill>
              </a:defRPr>
            </a:lvl3pPr>
            <a:lvl4pPr marL="383817" indent="-127938">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84127"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59093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528044804"/>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5750"/>
            <a:ext cx="5520847" cy="6289332"/>
          </a:xfrm>
          <a:solidFill>
            <a:srgbClr val="E0E0E0"/>
          </a:solidFill>
        </p:spPr>
        <p:txBody>
          <a:bodyPr anchor="ctr"/>
          <a:lstStyle>
            <a:lvl1pPr algn="ctr">
              <a:defRPr>
                <a:solidFill>
                  <a:schemeClr val="accent5"/>
                </a:solidFill>
              </a:defRPr>
            </a:lvl1pPr>
          </a:lstStyle>
          <a:p>
            <a:r>
              <a:rPr lang="en-US"/>
              <a:t>Place imagery here</a:t>
            </a:r>
          </a:p>
        </p:txBody>
      </p:sp>
      <p:pic>
        <p:nvPicPr>
          <p:cNvPr id="3" name="Picture 2" descr="IBM 8-bar logo">
            <a:extLst>
              <a:ext uri="{FF2B5EF4-FFF2-40B4-BE49-F238E27FC236}">
                <a16:creationId xmlns:a16="http://schemas.microsoft.com/office/drawing/2014/main" id="{5C99EA1F-50F2-8D44-9784-4C9D55555354}"/>
              </a:ext>
            </a:extLst>
          </p:cNvPr>
          <p:cNvPicPr>
            <a:picLocks noChangeAspect="1"/>
          </p:cNvPicPr>
          <p:nvPr userDrawn="1"/>
        </p:nvPicPr>
        <p:blipFill>
          <a:blip r:embed="rId2"/>
          <a:stretch>
            <a:fillRect/>
          </a:stretch>
        </p:blipFill>
        <p:spPr>
          <a:xfrm>
            <a:off x="290006" y="6288882"/>
            <a:ext cx="769062" cy="286200"/>
          </a:xfrm>
          <a:prstGeom prst="rect">
            <a:avLst/>
          </a:prstGeom>
        </p:spPr>
      </p:pic>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287963" y="288000"/>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3864968302"/>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836223483"/>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de-DE"/>
              <a:t>Mastertitelformat bearbeiten</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2258191"/>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de-DE"/>
              <a:t>Mastertextformat bearbeiten</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673964817"/>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de-DE"/>
              <a:t>Mastertitelformat bearbeiten</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730664309"/>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841248"/>
            <a:ext cx="5049180" cy="4668838"/>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de-DE"/>
              <a:t>Mastertextformat bearbeiten</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728043159"/>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905206330"/>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de-DE"/>
              <a:t>Mastertitelformat bearbeiten</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405500924"/>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de-DE"/>
              <a:t>Mastertitelformat bearbeiten</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1503723599"/>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de-DE"/>
              <a:t>Mastertitelformat bearbeiten</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1327756679"/>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de-DE"/>
              <a:t>Mastertitelformat bearbeiten</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66896752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63" y="288036"/>
            <a:ext cx="5049180" cy="285750"/>
          </a:xfrm>
        </p:spPr>
        <p:txBody>
          <a:bodyPr/>
          <a:lstStyle>
            <a:lvl1pPr>
              <a:lnSpc>
                <a:spcPct val="100000"/>
              </a:lnSpc>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63" y="756000"/>
            <a:ext cx="5049180" cy="4573588"/>
          </a:xfrm>
        </p:spPr>
        <p:txBody>
          <a:bodyPr/>
          <a:lstStyle>
            <a:lvl1pPr>
              <a:lnSpc>
                <a:spcPct val="100000"/>
              </a:lnSpc>
              <a:defRPr sz="4199">
                <a:solidFill>
                  <a:schemeClr val="tx2"/>
                </a:solidFill>
              </a:defRPr>
            </a:lvl1pPr>
          </a:lstStyle>
          <a:p>
            <a:r>
              <a:rPr lang="en-US"/>
              <a:t>Click to edit Master title style</a:t>
            </a:r>
          </a:p>
        </p:txBody>
      </p:sp>
      <p:pic>
        <p:nvPicPr>
          <p:cNvPr id="3" name="Picture 2" descr="IBM 8-bar logo">
            <a:extLst>
              <a:ext uri="{FF2B5EF4-FFF2-40B4-BE49-F238E27FC236}">
                <a16:creationId xmlns:a16="http://schemas.microsoft.com/office/drawing/2014/main" id="{0A3BE97F-BB78-DA67-3A9B-B2FBFA0DFC6D}"/>
              </a:ext>
            </a:extLst>
          </p:cNvPr>
          <p:cNvPicPr>
            <a:picLocks noChangeAspect="1"/>
          </p:cNvPicPr>
          <p:nvPr userDrawn="1"/>
        </p:nvPicPr>
        <p:blipFill>
          <a:blip r:embed="rId2"/>
          <a:stretch>
            <a:fillRect/>
          </a:stretch>
        </p:blipFill>
        <p:spPr>
          <a:xfrm>
            <a:off x="290006" y="6288882"/>
            <a:ext cx="769062" cy="286200"/>
          </a:xfrm>
          <a:prstGeom prst="rect">
            <a:avLst/>
          </a:prstGeom>
        </p:spPr>
      </p:pic>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6380919" y="284957"/>
            <a:ext cx="5520847" cy="629012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90189739"/>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2946930537"/>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2399923847"/>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3724341389"/>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4003009043"/>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3418169140"/>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121529416"/>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Tree>
    <p:extLst>
      <p:ext uri="{BB962C8B-B14F-4D97-AF65-F5344CB8AC3E}">
        <p14:creationId xmlns:p14="http://schemas.microsoft.com/office/powerpoint/2010/main" val="784548157"/>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de-DE"/>
              <a:t>Mastertextformat bearbeiten</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 2025 cloudflight / IBM Corporation </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65442817"/>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de-DE"/>
              <a:t>Mastertextformat bearbeiten</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6583929"/>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3593085"/>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288000"/>
            <a:ext cx="2470717" cy="2105025"/>
          </a:xfrm>
        </p:spPr>
        <p:txBody>
          <a:bodyPr/>
          <a:lstStyle>
            <a:lvl1pPr>
              <a:lnSpc>
                <a:spcPct val="100000"/>
              </a:lnSpc>
              <a:defRPr sz="3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2506" y="287338"/>
            <a:ext cx="2476178" cy="5808659"/>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7338"/>
            <a:ext cx="2470622" cy="5810250"/>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18147989"/>
      </p:ext>
    </p:extLst>
  </p:cSld>
  <p:clrMapOvr>
    <a:masterClrMapping/>
  </p:clrMapOvr>
  <p:transition spd="med"/>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6383511"/>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48424355"/>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de-DE"/>
              <a:t>Mastertitelformat bearbeiten</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51937418"/>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de-DE"/>
              <a:t>Mastertitelformat bearbeiten</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60597816"/>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de-DE"/>
              <a:t>Mastertextformat bearbeiten</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 2025 cloudflight / IBM Corporation </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24574467"/>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 2025 cloudflight / IBM Corporation </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52385022"/>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de-DE"/>
              <a:t>Mastertitelformat bearbeiten</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cloudflight / IBM Corporation </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de-DE"/>
              <a:t>Mastertextformat bearbeiten</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62372410"/>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de-DE"/>
              <a:t>Mastertitelformat bearbeiten</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cloudflight / IBM Corporation </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de-DE"/>
              <a:t>Mastertextformat bearbeiten</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13983448"/>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de-DE"/>
              <a:t>Mastertitelformat bearbeiten</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95034946"/>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de-DE"/>
              <a:t>Mastertitelformat bearbeiten</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9744507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4332005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288000"/>
            <a:ext cx="5517527" cy="1331913"/>
          </a:xfrm>
        </p:spPr>
        <p:txBody>
          <a:bodyPr rIns="457200"/>
          <a:lstStyle>
            <a:lvl1pPr>
              <a:lnSpc>
                <a:spcPct val="100000"/>
              </a:lnSpc>
              <a:defRPr sz="4199">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42F412B5-726F-373A-86F7-2FBA60F14014}"/>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6E2B1415-A9D9-645B-4DF0-7D16976DF72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71763247"/>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39231307"/>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 2025 cloudflight / IBM Corporation </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59951270"/>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cloudflight / IBM Corporation </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7461650"/>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de-DE"/>
              <a:t>Mastertitelformat bearbeiten</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cloudflight / IBM Corporation </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22194082"/>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 2025 cloudflight / IBM Corporation </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80905925"/>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55563050"/>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 2025 cloudflight / IBM Corporation </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085877546"/>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780974929"/>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502598632"/>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 2025 cloudflight / IBM Corporation </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7997024"/>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963" y="288000"/>
            <a:ext cx="8569797" cy="4416425"/>
          </a:xfrm>
        </p:spPr>
        <p:txBody>
          <a:bodyPr/>
          <a:lstStyle>
            <a:lvl1pPr>
              <a:defRPr sz="8398" b="0" i="0">
                <a:solidFill>
                  <a:schemeClr val="tx2"/>
                </a:solidFill>
                <a:latin typeface="IBM Plex Sans Light" panose="020B0303050203000203" pitchFamily="34" charset="0"/>
              </a:defRPr>
            </a:lvl1pPr>
          </a:lstStyle>
          <a:p>
            <a:r>
              <a:rPr lang="en-US"/>
              <a:t>Click to edit Master title style</a:t>
            </a:r>
          </a:p>
        </p:txBody>
      </p:sp>
      <p:sp>
        <p:nvSpPr>
          <p:cNvPr id="3" name="Footer Placeholder 3">
            <a:extLst>
              <a:ext uri="{FF2B5EF4-FFF2-40B4-BE49-F238E27FC236}">
                <a16:creationId xmlns:a16="http://schemas.microsoft.com/office/drawing/2014/main" id="{B98A3D4B-A3E1-0D38-F80E-1D86FCFA4DAE}"/>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3CF46425-C9F2-46CE-AAEE-89D8A19E0F2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04936152"/>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de-DE"/>
              <a:t>Tabelle durch Klicken auf Symbol hinzufügen</a:t>
            </a:r>
            <a:endParaRPr lang="en-US"/>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62703632"/>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de-DE"/>
              <a:t>Mastertextformat bearbeiten</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33540561"/>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de-DE"/>
              <a:t>Mastertitelformat bearbeiten</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20725023"/>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de-DE"/>
              <a:t>Mastertextformat bearbeiten</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r>
              <a:rPr lang="en-US"/>
              <a:t>© 2025 cloudflight / IBM Corporation </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07530"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49601676"/>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186900303"/>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2"/>
            <a:ext cx="2450592" cy="4336288"/>
          </a:xfrm>
        </p:spPr>
        <p:txBody>
          <a:bodyPr/>
          <a:lstStyle>
            <a:lvl1pPr>
              <a:spcBef>
                <a:spcPts val="400"/>
              </a:spcBef>
              <a:defRPr sz="1866"/>
            </a:lvl1pPr>
            <a:lvl2pPr>
              <a:spcBef>
                <a:spcPts val="1466"/>
              </a:spcBef>
              <a:defRPr sz="1866"/>
            </a:lvl2pPr>
            <a:lvl3pPr>
              <a:spcBef>
                <a:spcPts val="1466"/>
              </a:spcBef>
              <a:defRPr sz="1866"/>
            </a:lvl3pPr>
            <a:lvl4pPr>
              <a:spcBef>
                <a:spcPts val="1466"/>
              </a:spcBef>
              <a:defRPr sz="1866"/>
            </a:lvl4pPr>
            <a:lvl5pPr>
              <a:spcBef>
                <a:spcPts val="1466"/>
              </a:spcBef>
              <a:defRPr sz="18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 2025 cloudflight / IBM Corporation </a:t>
            </a:r>
          </a:p>
        </p:txBody>
      </p:sp>
    </p:spTree>
    <p:extLst>
      <p:ext uri="{BB962C8B-B14F-4D97-AF65-F5344CB8AC3E}">
        <p14:creationId xmlns:p14="http://schemas.microsoft.com/office/powerpoint/2010/main" val="195237731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0"/>
            <a:ext cx="12192000" cy="1714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190" tIns="38095" rIns="76190" bIns="38095" numCol="1" spcCol="0" rtlCol="0" fromWordArt="0" anchor="ctr" anchorCtr="0" forceAA="0" compatLnSpc="1">
            <a:prstTxWarp prst="textNoShape">
              <a:avLst/>
            </a:prstTxWarp>
            <a:noAutofit/>
          </a:bodyPr>
          <a:lstStyle/>
          <a:p>
            <a:pPr algn="ctr"/>
            <a:endParaRPr lang="en-US" sz="1833" b="0" i="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381000" y="571500"/>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230028449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2" y="6273671"/>
            <a:ext cx="695449" cy="277477"/>
          </a:xfrm>
          <a:prstGeom prst="rect">
            <a:avLst/>
          </a:prstGeom>
        </p:spPr>
      </p:pic>
      <p:sp>
        <p:nvSpPr>
          <p:cNvPr id="6" name="Footer Placeholder">
            <a:extLst>
              <a:ext uri="{FF2B5EF4-FFF2-40B4-BE49-F238E27FC236}">
                <a16:creationId xmlns:a16="http://schemas.microsoft.com/office/drawing/2014/main" id="{8B538EF3-8F8D-40CD-945F-385B2EEFE677}"/>
              </a:ext>
            </a:extLst>
          </p:cNvPr>
          <p:cNvSpPr>
            <a:spLocks noGrp="1"/>
          </p:cNvSpPr>
          <p:nvPr>
            <p:ph type="ftr" sz="quarter" idx="10"/>
          </p:nvPr>
        </p:nvSpPr>
        <p:spPr>
          <a:xfrm>
            <a:off x="304889" y="6400801"/>
            <a:ext cx="5486313" cy="222249"/>
          </a:xfrm>
        </p:spPr>
        <p:txBody>
          <a:bodyPr/>
          <a:lstStyle>
            <a:lvl1pPr>
              <a:defRPr>
                <a:solidFill>
                  <a:schemeClr val="tx1"/>
                </a:solidFill>
              </a:defRPr>
            </a:lvl1pPr>
          </a:lstStyle>
          <a:p>
            <a:r>
              <a:rPr lang="en-US"/>
              <a:t>© 2025 cloudflight / IBM Corporation </a:t>
            </a:r>
          </a:p>
        </p:txBody>
      </p:sp>
    </p:spTree>
    <p:extLst>
      <p:ext uri="{BB962C8B-B14F-4D97-AF65-F5344CB8AC3E}">
        <p14:creationId xmlns:p14="http://schemas.microsoft.com/office/powerpoint/2010/main" val="35825662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37" name="Text Placeholder 36"/>
          <p:cNvSpPr>
            <a:spLocks noGrp="1"/>
          </p:cNvSpPr>
          <p:nvPr>
            <p:ph type="body" sz="quarter" idx="10"/>
          </p:nvPr>
        </p:nvSpPr>
        <p:spPr>
          <a:xfrm>
            <a:off x="457201" y="0"/>
            <a:ext cx="11274425" cy="603250"/>
          </a:xfrm>
        </p:spPr>
        <p:txBody>
          <a:bodyPr anchor="b"/>
          <a:lstStyle>
            <a:lvl1pPr marL="0" indent="0">
              <a:buNone/>
              <a:defRPr sz="180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691732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90367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288000"/>
            <a:ext cx="4953942" cy="2104835"/>
          </a:xfrm>
        </p:spPr>
        <p:txBody>
          <a:bodyPr/>
          <a:lstStyle>
            <a:lvl1pPr>
              <a:lnSpc>
                <a:spcPct val="100000"/>
              </a:lnSpc>
              <a:defRPr sz="33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9168" y="288000"/>
            <a:ext cx="5520318" cy="4389247"/>
          </a:xfrm>
        </p:spPr>
        <p:txBody>
          <a:bodyPr/>
          <a:lstStyle>
            <a:lvl1pPr>
              <a:lnSpc>
                <a:spcPct val="100000"/>
              </a:lnSpc>
              <a:spcBef>
                <a:spcPts val="0"/>
              </a:spcBef>
              <a:defRPr sz="3399">
                <a:solidFill>
                  <a:schemeClr val="tx2"/>
                </a:solidFill>
              </a:defRPr>
            </a:lvl1pPr>
            <a:lvl2pPr marL="163767" indent="-163767">
              <a:lnSpc>
                <a:spcPct val="100000"/>
              </a:lnSpc>
              <a:spcBef>
                <a:spcPts val="0"/>
              </a:spcBef>
              <a:defRPr sz="3399">
                <a:solidFill>
                  <a:schemeClr val="tx2"/>
                </a:solidFill>
              </a:defRPr>
            </a:lvl2pPr>
            <a:lvl3pPr marL="329334" indent="-163767">
              <a:lnSpc>
                <a:spcPct val="100000"/>
              </a:lnSpc>
              <a:spcBef>
                <a:spcPts val="0"/>
              </a:spcBef>
              <a:defRPr sz="3399">
                <a:solidFill>
                  <a:schemeClr val="tx2"/>
                </a:solidFill>
              </a:defRPr>
            </a:lvl3pPr>
            <a:lvl4pPr marL="493101">
              <a:lnSpc>
                <a:spcPct val="100000"/>
              </a:lnSpc>
              <a:spcBef>
                <a:spcPts val="0"/>
              </a:spcBef>
              <a:defRPr sz="33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20FC8337-4A61-6950-CEE5-DDB270D10746}"/>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F8F57643-D39B-662E-5D14-6D9BFA200F3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2769162"/>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931616674"/>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899792532"/>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192386325"/>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876611275"/>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35915705"/>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ivider+Img">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033515C-281C-16A9-FA95-3739E4FDE58F}"/>
              </a:ext>
            </a:extLst>
          </p:cNvPr>
          <p:cNvSpPr>
            <a:spLocks noGrp="1"/>
          </p:cNvSpPr>
          <p:nvPr>
            <p:ph type="title"/>
          </p:nvPr>
        </p:nvSpPr>
        <p:spPr>
          <a:xfrm>
            <a:off x="287999" y="288036"/>
            <a:ext cx="4280232" cy="763524"/>
          </a:xfrm>
        </p:spPr>
        <p:txBody>
          <a:bodyPr/>
          <a:lstStyle>
            <a:lvl1pPr>
              <a:lnSpc>
                <a:spcPct val="110000"/>
              </a:lnSpc>
              <a:defRPr sz="3199">
                <a:solidFill>
                  <a:schemeClr val="tx2"/>
                </a:solidFill>
              </a:defRPr>
            </a:lvl1pPr>
          </a:lstStyle>
          <a:p>
            <a:r>
              <a:rPr lang="en-GB"/>
              <a:t>Click to edit Master title style</a:t>
            </a:r>
            <a:endParaRPr lang="en-US" dirty="0"/>
          </a:p>
        </p:txBody>
      </p:sp>
      <p:sp>
        <p:nvSpPr>
          <p:cNvPr id="4" name="Footer Placeholder 3">
            <a:extLst>
              <a:ext uri="{FF2B5EF4-FFF2-40B4-BE49-F238E27FC236}">
                <a16:creationId xmlns:a16="http://schemas.microsoft.com/office/drawing/2014/main" id="{AD7E4154-472B-23C7-F046-2E35D3438D07}"/>
              </a:ext>
            </a:extLst>
          </p:cNvPr>
          <p:cNvSpPr>
            <a:spLocks noGrp="1"/>
          </p:cNvSpPr>
          <p:nvPr>
            <p:ph type="ftr" sz="quarter" idx="13"/>
          </p:nvPr>
        </p:nvSpPr>
        <p:spPr/>
        <p:txBody>
          <a:bodyPr/>
          <a:lstStyle/>
          <a:p>
            <a:r>
              <a:rPr lang="en-US"/>
              <a:t>© 2025 cloudflight / IBM Corporation </a:t>
            </a:r>
          </a:p>
        </p:txBody>
      </p:sp>
    </p:spTree>
    <p:extLst>
      <p:ext uri="{BB962C8B-B14F-4D97-AF65-F5344CB8AC3E}">
        <p14:creationId xmlns:p14="http://schemas.microsoft.com/office/powerpoint/2010/main" val="2590458985"/>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Divider+Img">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33515C-281C-16A9-FA95-3739E4FDE58F}"/>
              </a:ext>
            </a:extLst>
          </p:cNvPr>
          <p:cNvSpPr>
            <a:spLocks noGrp="1"/>
          </p:cNvSpPr>
          <p:nvPr>
            <p:ph type="title"/>
          </p:nvPr>
        </p:nvSpPr>
        <p:spPr>
          <a:xfrm>
            <a:off x="287999" y="288036"/>
            <a:ext cx="2473891" cy="763524"/>
          </a:xfrm>
        </p:spPr>
        <p:txBody>
          <a:bodyPr/>
          <a:lstStyle>
            <a:lvl1pPr>
              <a:lnSpc>
                <a:spcPct val="110000"/>
              </a:lnSpc>
              <a:defRPr sz="2200">
                <a:solidFill>
                  <a:schemeClr val="tx2"/>
                </a:solidFill>
              </a:defRPr>
            </a:lvl1pPr>
          </a:lstStyle>
          <a:p>
            <a:r>
              <a:rPr lang="en-GB" dirty="0"/>
              <a:t>Click to edit Master title style</a:t>
            </a:r>
            <a:endParaRPr lang="en-US" dirty="0"/>
          </a:p>
        </p:txBody>
      </p:sp>
      <p:sp>
        <p:nvSpPr>
          <p:cNvPr id="4" name="Footer Placeholder 3">
            <a:extLst>
              <a:ext uri="{FF2B5EF4-FFF2-40B4-BE49-F238E27FC236}">
                <a16:creationId xmlns:a16="http://schemas.microsoft.com/office/drawing/2014/main" id="{AD7E4154-472B-23C7-F046-2E35D3438D07}"/>
              </a:ext>
            </a:extLst>
          </p:cNvPr>
          <p:cNvSpPr>
            <a:spLocks noGrp="1"/>
          </p:cNvSpPr>
          <p:nvPr>
            <p:ph type="ftr" sz="quarter" idx="13"/>
          </p:nvPr>
        </p:nvSpPr>
        <p:spPr/>
        <p:txBody>
          <a:bodyPr/>
          <a:lstStyle/>
          <a:p>
            <a:r>
              <a:rPr lang="en-US"/>
              <a:t>© 2025 cloudflight / IBM Corporation </a:t>
            </a:r>
          </a:p>
        </p:txBody>
      </p:sp>
      <p:sp>
        <p:nvSpPr>
          <p:cNvPr id="2" name="Picture Placeholder 6" descr="Place imagery here">
            <a:extLst>
              <a:ext uri="{FF2B5EF4-FFF2-40B4-BE49-F238E27FC236}">
                <a16:creationId xmlns:a16="http://schemas.microsoft.com/office/drawing/2014/main" id="{19ADDF5D-33CE-E418-9957-520839AC63C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69740381"/>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676821283"/>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41399170"/>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373454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949EB6B2-A4A6-F162-D0FE-417694FC70FD}"/>
              </a:ext>
            </a:extLst>
          </p:cNvPr>
          <p:cNvSpPr>
            <a:spLocks noGrp="1"/>
          </p:cNvSpPr>
          <p:nvPr>
            <p:ph type="ftr" sz="quarter" idx="18"/>
          </p:nvPr>
        </p:nvSpPr>
        <p:spPr>
          <a:xfrm>
            <a:off x="287963" y="6408000"/>
            <a:ext cx="2471416"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4DAC6A96-E5C9-E8BD-2383-92616744093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9" name="Text Placeholder 8">
            <a:extLst>
              <a:ext uri="{FF2B5EF4-FFF2-40B4-BE49-F238E27FC236}">
                <a16:creationId xmlns:a16="http://schemas.microsoft.com/office/drawing/2014/main" id="{E0CC16BE-B09A-0C84-8A0B-5FE3F85FB19B}"/>
              </a:ext>
            </a:extLst>
          </p:cNvPr>
          <p:cNvSpPr>
            <a:spLocks noGrp="1"/>
          </p:cNvSpPr>
          <p:nvPr>
            <p:ph type="body" sz="quarter" idx="19"/>
          </p:nvPr>
        </p:nvSpPr>
        <p:spPr>
          <a:xfrm>
            <a:off x="287963" y="288000"/>
            <a:ext cx="7323771" cy="5178133"/>
          </a:xfrm>
        </p:spPr>
        <p:txBody>
          <a:bodyPr/>
          <a:lstStyle>
            <a:lvl1pPr>
              <a:lnSpc>
                <a:spcPct val="100000"/>
              </a:lnSpc>
              <a:defRPr sz="4199"/>
            </a:lvl1pPr>
          </a:lstStyle>
          <a:p>
            <a:pPr lvl="0"/>
            <a:r>
              <a:rPr lang="en-US"/>
              <a:t>Click to edit Master text styles</a:t>
            </a:r>
          </a:p>
        </p:txBody>
      </p:sp>
    </p:spTree>
    <p:extLst>
      <p:ext uri="{BB962C8B-B14F-4D97-AF65-F5344CB8AC3E}">
        <p14:creationId xmlns:p14="http://schemas.microsoft.com/office/powerpoint/2010/main" val="2955731967"/>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54588732"/>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94038886"/>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1052590"/>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31857827"/>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04353760"/>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3106072"/>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84307420"/>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97728626"/>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14808927"/>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90535746"/>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63" y="288036"/>
            <a:ext cx="3811091" cy="3521964"/>
          </a:xfrm>
        </p:spPr>
        <p:txBody>
          <a:bodyPr/>
          <a:lstStyle>
            <a:lvl1pPr>
              <a:lnSpc>
                <a:spcPct val="100000"/>
              </a:lnSpc>
              <a:spcBef>
                <a:spcPts val="0"/>
              </a:spcBef>
              <a:defRPr sz="3399">
                <a:solidFill>
                  <a:schemeClr val="tx1"/>
                </a:solidFill>
              </a:defRPr>
            </a:lvl1pPr>
            <a:lvl2pPr marL="163767" indent="-163767">
              <a:lnSpc>
                <a:spcPct val="100000"/>
              </a:lnSpc>
              <a:spcBef>
                <a:spcPts val="0"/>
              </a:spcBef>
              <a:defRPr sz="3399">
                <a:solidFill>
                  <a:schemeClr val="tx1"/>
                </a:solidFill>
              </a:defRPr>
            </a:lvl2pPr>
            <a:lvl3pPr marL="329334" indent="-163767">
              <a:lnSpc>
                <a:spcPct val="100000"/>
              </a:lnSpc>
              <a:spcBef>
                <a:spcPts val="0"/>
              </a:spcBef>
              <a:defRPr sz="3399">
                <a:solidFill>
                  <a:schemeClr val="tx1"/>
                </a:solidFill>
              </a:defRPr>
            </a:lvl3pPr>
            <a:lvl4pPr marL="493101" indent="-163767">
              <a:lnSpc>
                <a:spcPct val="100000"/>
              </a:lnSpc>
              <a:spcBef>
                <a:spcPts val="0"/>
              </a:spcBef>
              <a:defRPr sz="3399">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814111"/>
            <a:ext cx="5524575" cy="1676533"/>
          </a:xfrm>
        </p:spPr>
        <p:txBody>
          <a:bodyPr anchor="b"/>
          <a:lstStyle>
            <a:lvl1pPr>
              <a:lnSpc>
                <a:spcPct val="90000"/>
              </a:lnSpc>
              <a:spcBef>
                <a:spcPts val="0"/>
              </a:spcBef>
              <a:defRPr sz="12597" b="0" i="0">
                <a:solidFill>
                  <a:schemeClr val="accent1"/>
                </a:solidFill>
                <a:latin typeface="IBM Plex Sans Ligh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a:cxnSpLocks/>
          </p:cNvCxnSpPr>
          <p:nvPr userDrawn="1"/>
        </p:nvCxnSpPr>
        <p:spPr bwMode="auto">
          <a:xfrm>
            <a:off x="6096000" y="284957"/>
            <a:ext cx="0" cy="58126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9168" y="288036"/>
            <a:ext cx="3811904" cy="3521964"/>
          </a:xfrm>
        </p:spPr>
        <p:txBody>
          <a:bodyPr/>
          <a:lstStyle>
            <a:lvl1pPr>
              <a:lnSpc>
                <a:spcPct val="100000"/>
              </a:lnSpc>
              <a:spcBef>
                <a:spcPts val="0"/>
              </a:spcBef>
              <a:defRPr sz="3399">
                <a:solidFill>
                  <a:schemeClr val="tx1"/>
                </a:solidFill>
              </a:defRPr>
            </a:lvl1pPr>
            <a:lvl2pPr marL="163767" indent="-163767">
              <a:lnSpc>
                <a:spcPct val="100000"/>
              </a:lnSpc>
              <a:spcBef>
                <a:spcPts val="0"/>
              </a:spcBef>
              <a:defRPr sz="3399">
                <a:solidFill>
                  <a:schemeClr val="tx1"/>
                </a:solidFill>
              </a:defRPr>
            </a:lvl2pPr>
            <a:lvl3pPr marL="329334" indent="-163767">
              <a:lnSpc>
                <a:spcPct val="100000"/>
              </a:lnSpc>
              <a:spcBef>
                <a:spcPts val="0"/>
              </a:spcBef>
              <a:defRPr sz="3399">
                <a:solidFill>
                  <a:schemeClr val="tx1"/>
                </a:solidFill>
              </a:defRPr>
            </a:lvl3pPr>
            <a:lvl4pPr marL="493101" indent="-163767">
              <a:lnSpc>
                <a:spcPct val="100000"/>
              </a:lnSpc>
              <a:spcBef>
                <a:spcPts val="0"/>
              </a:spcBef>
              <a:defRPr sz="3399">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9168" y="4814111"/>
            <a:ext cx="5523781" cy="1677147"/>
          </a:xfrm>
        </p:spPr>
        <p:txBody>
          <a:bodyPr anchor="b"/>
          <a:lstStyle>
            <a:lvl1pPr>
              <a:lnSpc>
                <a:spcPct val="90000"/>
              </a:lnSpc>
              <a:spcBef>
                <a:spcPts val="0"/>
              </a:spcBef>
              <a:defRPr sz="12597" b="0" i="0">
                <a:solidFill>
                  <a:schemeClr val="accent1"/>
                </a:solidFill>
                <a:latin typeface="IBM Plex Sans Light" panose="020B0303050203000203" pitchFamily="34" charset="0"/>
              </a:defRPr>
            </a:lvl1pPr>
          </a:lstStyle>
          <a:p>
            <a:r>
              <a:rPr lang="en-US"/>
              <a:t>+00%</a:t>
            </a:r>
          </a:p>
        </p:txBody>
      </p:sp>
      <p:sp>
        <p:nvSpPr>
          <p:cNvPr id="2" name="Footer Placeholder 3">
            <a:extLst>
              <a:ext uri="{FF2B5EF4-FFF2-40B4-BE49-F238E27FC236}">
                <a16:creationId xmlns:a16="http://schemas.microsoft.com/office/drawing/2014/main" id="{21A64AF3-E67B-E80B-A5D3-6B3533C87F9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5" name="Slide Number">
            <a:extLst>
              <a:ext uri="{FF2B5EF4-FFF2-40B4-BE49-F238E27FC236}">
                <a16:creationId xmlns:a16="http://schemas.microsoft.com/office/drawing/2014/main" id="{28C4F134-9B5D-407C-F525-B2FC25B7B5CD}"/>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01331356"/>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 2025 cloudflight / IBM Corporation </a:t>
            </a:r>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73272296"/>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11013266"/>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17049120"/>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8692463"/>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88295302"/>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60169590"/>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01855994"/>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 2025 cloudflight / IBM Corporation </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06503105"/>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 2025 cloudflight / IBM Corporation </a:t>
            </a:r>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54872332"/>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 2025 cloudflight / IBM Corporation </a:t>
            </a:r>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27462867"/>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642364"/>
          </a:xfrm>
        </p:spPr>
        <p:txBody>
          <a:bodyPr/>
          <a:lstStyle>
            <a:lvl1pPr>
              <a:lnSpc>
                <a:spcPct val="100000"/>
              </a:lnSpc>
              <a:defRPr sz="3399">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88000"/>
            <a:ext cx="2475384" cy="953956"/>
          </a:xfrm>
        </p:spPr>
        <p:txBody>
          <a:bodyPr/>
          <a:lstStyle>
            <a:lvl1pPr>
              <a:lnSpc>
                <a:spcPct val="90000"/>
              </a:lnSpc>
              <a:defRPr sz="65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239707"/>
            <a:ext cx="2475384" cy="4931054"/>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9168" y="288000"/>
            <a:ext cx="2474590" cy="953294"/>
          </a:xfrm>
        </p:spPr>
        <p:txBody>
          <a:bodyPr/>
          <a:lstStyle>
            <a:lvl1pPr>
              <a:lnSpc>
                <a:spcPct val="90000"/>
              </a:lnSpc>
              <a:defRPr sz="65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9168" y="1239707"/>
            <a:ext cx="2476178" cy="4931054"/>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88000"/>
            <a:ext cx="2474590" cy="951707"/>
          </a:xfrm>
        </p:spPr>
        <p:txBody>
          <a:bodyPr/>
          <a:lstStyle>
            <a:lvl1pPr>
              <a:lnSpc>
                <a:spcPct val="90000"/>
              </a:lnSpc>
              <a:defRPr sz="65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7728" y="1239707"/>
            <a:ext cx="2476178" cy="4931054"/>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4904" y="6029325"/>
            <a:ext cx="2475384" cy="571500"/>
          </a:xfrm>
        </p:spPr>
        <p:txBody>
          <a:bodyPr anchor="b"/>
          <a:lstStyle>
            <a:lvl1pPr>
              <a:lnSpc>
                <a:spcPct val="120000"/>
              </a:lnSpc>
              <a:spcBef>
                <a:spcPts val="0"/>
              </a:spcBef>
              <a:defRPr sz="800" b="0" i="0">
                <a:solidFill>
                  <a:schemeClr val="tx1"/>
                </a:solidFill>
                <a:latin typeface="IBM Plex Sans Light" panose="020B0503050203000203" pitchFamily="34" charset="0"/>
              </a:defRPr>
            </a:lvl1pPr>
            <a:lvl2pPr marL="163767" indent="-163767">
              <a:lnSpc>
                <a:spcPct val="100000"/>
              </a:lnSpc>
              <a:spcBef>
                <a:spcPts val="0"/>
              </a:spcBef>
              <a:defRPr sz="800" b="0" i="0">
                <a:solidFill>
                  <a:schemeClr val="tx1"/>
                </a:solidFill>
                <a:latin typeface="IBM Plex Sans Light" panose="020B0503050203000203" pitchFamily="34" charset="0"/>
              </a:defRPr>
            </a:lvl2pPr>
            <a:lvl3pPr marL="329334" indent="-163767">
              <a:lnSpc>
                <a:spcPct val="100000"/>
              </a:lnSpc>
              <a:spcBef>
                <a:spcPts val="0"/>
              </a:spcBef>
              <a:defRPr sz="800" b="0" i="0">
                <a:solidFill>
                  <a:schemeClr val="tx1"/>
                </a:solidFill>
                <a:latin typeface="IBM Plex Sans Light" panose="020B0503050203000203" pitchFamily="34" charset="0"/>
              </a:defRPr>
            </a:lvl3pPr>
            <a:lvl4pPr marL="493101" indent="-163767">
              <a:lnSpc>
                <a:spcPct val="10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856FFD0-F317-D3D7-DE9D-AA1F4AB27EEB}"/>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899D670E-69CE-BB86-FB88-291343BDEE2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95996893"/>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69495122"/>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98154991"/>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64585639"/>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08554743"/>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9587770"/>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 2025 cloudflight / IBM Corporation </a:t>
            </a:r>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24260163"/>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94303180"/>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51612273"/>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able of 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4280232" cy="763524"/>
          </a:xfrm>
        </p:spPr>
        <p:txBody>
          <a:bodyPr/>
          <a:lstStyle>
            <a:lvl1pPr>
              <a:lnSpc>
                <a:spcPct val="110000"/>
              </a:lnSpc>
              <a:defRPr sz="3199">
                <a:solidFill>
                  <a:schemeClr val="tx2"/>
                </a:solidFill>
              </a:defRPr>
            </a:lvl1pPr>
          </a:lstStyle>
          <a:p>
            <a:r>
              <a:rPr lang="en-GB"/>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8" name="Text Placeholder 7">
            <a:extLst>
              <a:ext uri="{FF2B5EF4-FFF2-40B4-BE49-F238E27FC236}">
                <a16:creationId xmlns:a16="http://schemas.microsoft.com/office/drawing/2014/main" id="{C1E40289-0859-0CC9-D3B1-F09A1A0C1AE7}"/>
              </a:ext>
            </a:extLst>
          </p:cNvPr>
          <p:cNvSpPr>
            <a:spLocks noGrp="1"/>
          </p:cNvSpPr>
          <p:nvPr>
            <p:ph type="body" sz="quarter" idx="13"/>
          </p:nvPr>
        </p:nvSpPr>
        <p:spPr>
          <a:xfrm>
            <a:off x="284125" y="1714500"/>
            <a:ext cx="5524575" cy="4283869"/>
          </a:xfrm>
        </p:spPr>
        <p:txBody>
          <a:bodyPr/>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73595890"/>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00911811"/>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166" y="3723455"/>
            <a:ext cx="5522257" cy="2850793"/>
          </a:xfrm>
        </p:spPr>
        <p:txBody>
          <a:bodyPr/>
          <a:lstStyle>
            <a:lvl1pPr>
              <a:lnSpc>
                <a:spcPct val="100000"/>
              </a:lnSpc>
              <a:spcBef>
                <a:spcPts val="0"/>
              </a:spcBef>
              <a:defRPr sz="4199">
                <a:solidFill>
                  <a:schemeClr val="tx1"/>
                </a:solidFill>
              </a:defRPr>
            </a:lvl1pPr>
            <a:lvl2pPr marL="163767" indent="-163767">
              <a:lnSpc>
                <a:spcPct val="100000"/>
              </a:lnSpc>
              <a:spcBef>
                <a:spcPts val="0"/>
              </a:spcBef>
              <a:defRPr sz="4199">
                <a:solidFill>
                  <a:schemeClr val="tx1"/>
                </a:solidFill>
              </a:defRPr>
            </a:lvl2pPr>
            <a:lvl3pPr marL="329334" indent="-163767">
              <a:lnSpc>
                <a:spcPct val="100000"/>
              </a:lnSpc>
              <a:spcBef>
                <a:spcPts val="0"/>
              </a:spcBef>
              <a:defRPr sz="4199">
                <a:solidFill>
                  <a:schemeClr val="tx1"/>
                </a:solidFill>
              </a:defRPr>
            </a:lvl3pPr>
            <a:lvl4pPr marL="493101" indent="-163767">
              <a:lnSpc>
                <a:spcPct val="100000"/>
              </a:lnSpc>
              <a:spcBef>
                <a:spcPts val="0"/>
              </a:spcBef>
              <a:defRPr sz="41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963" y="288000"/>
            <a:ext cx="2474590" cy="2667793"/>
          </a:xfrm>
        </p:spPr>
        <p:txBody>
          <a:bodyPr/>
          <a:lstStyle>
            <a:lvl1pPr>
              <a:lnSpc>
                <a:spcPct val="100000"/>
              </a:lnSpc>
              <a:defRPr sz="41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88000"/>
            <a:ext cx="5523781" cy="2667794"/>
          </a:xfrm>
        </p:spPr>
        <p:txBody>
          <a:bodyPr/>
          <a:lstStyle>
            <a:lvl1pPr>
              <a:lnSpc>
                <a:spcPct val="100000"/>
              </a:lnSpc>
              <a:spcBef>
                <a:spcPts val="0"/>
              </a:spcBef>
              <a:defRPr sz="4199">
                <a:solidFill>
                  <a:schemeClr val="tx1"/>
                </a:solidFill>
              </a:defRPr>
            </a:lvl1pPr>
            <a:lvl2pPr marL="163767" indent="-163767">
              <a:lnSpc>
                <a:spcPct val="100000"/>
              </a:lnSpc>
              <a:spcBef>
                <a:spcPts val="0"/>
              </a:spcBef>
              <a:defRPr sz="4199">
                <a:solidFill>
                  <a:schemeClr val="tx1"/>
                </a:solidFill>
              </a:defRPr>
            </a:lvl2pPr>
            <a:lvl3pPr marL="329334" indent="-163767">
              <a:lnSpc>
                <a:spcPct val="100000"/>
              </a:lnSpc>
              <a:spcBef>
                <a:spcPts val="0"/>
              </a:spcBef>
              <a:defRPr sz="4199">
                <a:solidFill>
                  <a:schemeClr val="tx1"/>
                </a:solidFill>
              </a:defRPr>
            </a:lvl3pPr>
            <a:lvl4pPr marL="493101" indent="-163767">
              <a:lnSpc>
                <a:spcPct val="100000"/>
              </a:lnSpc>
              <a:spcBef>
                <a:spcPts val="0"/>
              </a:spcBef>
              <a:defRPr sz="41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a:cxnSpLocks/>
          </p:cNvCxnSpPr>
          <p:nvPr userDrawn="1"/>
        </p:nvCxnSpPr>
        <p:spPr bwMode="auto">
          <a:xfrm>
            <a:off x="288093" y="3429000"/>
            <a:ext cx="1161581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962" y="3722917"/>
            <a:ext cx="2473130" cy="2850793"/>
          </a:xfrm>
        </p:spPr>
        <p:txBody>
          <a:bodyPr/>
          <a:lstStyle>
            <a:lvl1pPr>
              <a:lnSpc>
                <a:spcPct val="100000"/>
              </a:lnSpc>
              <a:defRPr sz="41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4" name="Footer Placeholder 3">
            <a:extLst>
              <a:ext uri="{FF2B5EF4-FFF2-40B4-BE49-F238E27FC236}">
                <a16:creationId xmlns:a16="http://schemas.microsoft.com/office/drawing/2014/main" id="{7B9ABB71-218D-3F6E-E3F7-5348FD395D22}"/>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B77BD92D-3A6C-2396-61D4-51D7CC5B1C0A}"/>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69014291"/>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 2025 cloudflight / IBM Corporation </a:t>
            </a:r>
          </a:p>
        </p:txBody>
      </p:sp>
    </p:spTree>
    <p:extLst>
      <p:ext uri="{BB962C8B-B14F-4D97-AF65-F5344CB8AC3E}">
        <p14:creationId xmlns:p14="http://schemas.microsoft.com/office/powerpoint/2010/main" val="1846942778"/>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Video or imagery, half, inset">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319F30-3A5B-B3C9-53A5-A62D321CBE8B}"/>
              </a:ext>
            </a:extLst>
          </p:cNvPr>
          <p:cNvSpPr/>
          <p:nvPr userDrawn="1"/>
        </p:nvSpPr>
        <p:spPr bwMode="auto">
          <a:xfrm>
            <a:off x="6380919" y="0"/>
            <a:ext cx="5811080" cy="685800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DE" sz="7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 2025 cloudflight / IBM Corporation </a:t>
            </a:r>
          </a:p>
        </p:txBody>
      </p:sp>
      <p:sp>
        <p:nvSpPr>
          <p:cNvPr id="3" name="Slide Number">
            <a:extLst>
              <a:ext uri="{FF2B5EF4-FFF2-40B4-BE49-F238E27FC236}">
                <a16:creationId xmlns:a16="http://schemas.microsoft.com/office/drawing/2014/main" id="{0FDE8480-BDFA-6601-FC68-5B2F2C63AC7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8171110"/>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 2025 cloudflight / IBM Corporation </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528875586"/>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 2025 cloudflight / IBM Corporation </a:t>
            </a:r>
          </a:p>
        </p:txBody>
      </p:sp>
    </p:spTree>
    <p:extLst>
      <p:ext uri="{BB962C8B-B14F-4D97-AF65-F5344CB8AC3E}">
        <p14:creationId xmlns:p14="http://schemas.microsoft.com/office/powerpoint/2010/main" val="293813879"/>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97043965"/>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404836200"/>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 2025 cloudflight / IBM Corporation </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4970334"/>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74800508"/>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 2025 cloudflight / IBM Corporation </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03235960"/>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r>
              <a:rPr lang="en-US"/>
              <a:t>© 2025 cloudflight / IBM Corporation </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19954246"/>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642364"/>
          </a:xfrm>
        </p:spPr>
        <p:txBody>
          <a:bodyPr/>
          <a:lstStyle>
            <a:lvl1pPr>
              <a:lnSpc>
                <a:spcPct val="100000"/>
              </a:lnSpc>
              <a:defRPr sz="3399">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88000"/>
            <a:ext cx="2475384" cy="1429544"/>
          </a:xfrm>
        </p:spPr>
        <p:txBody>
          <a:bodyPr/>
          <a:lstStyle>
            <a:lvl1pPr>
              <a:lnSpc>
                <a:spcPct val="90000"/>
              </a:lnSpc>
              <a:defRPr sz="6599">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00"/>
            <a:ext cx="3809504" cy="1429544"/>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287588"/>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563200"/>
            <a:ext cx="2475384" cy="1428753"/>
          </a:xfrm>
        </p:spPr>
        <p:txBody>
          <a:bodyPr/>
          <a:lstStyle>
            <a:lvl1pPr>
              <a:lnSpc>
                <a:spcPct val="90000"/>
              </a:lnSpc>
              <a:defRPr sz="6599">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562985"/>
            <a:ext cx="3809504" cy="1428750"/>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570413"/>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834800"/>
            <a:ext cx="2475383" cy="1334265"/>
          </a:xfrm>
        </p:spPr>
        <p:txBody>
          <a:bodyPr/>
          <a:lstStyle>
            <a:lvl1pPr>
              <a:lnSpc>
                <a:spcPct val="90000"/>
              </a:lnSpc>
              <a:defRPr sz="6599">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835205"/>
            <a:ext cx="3809504" cy="1262383"/>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9325"/>
            <a:ext cx="2475384" cy="571500"/>
          </a:xfrm>
        </p:spPr>
        <p:txBody>
          <a:bodyPr anchor="b"/>
          <a:lstStyle>
            <a:lvl1pPr>
              <a:lnSpc>
                <a:spcPct val="120000"/>
              </a:lnSpc>
              <a:spcBef>
                <a:spcPts val="0"/>
              </a:spcBef>
              <a:defRPr sz="800" b="0" i="0">
                <a:solidFill>
                  <a:schemeClr val="tx1"/>
                </a:solidFill>
                <a:latin typeface="IBM Plex Sans Light" panose="020B0503050203000203" pitchFamily="34" charset="0"/>
              </a:defRPr>
            </a:lvl1pPr>
            <a:lvl2pPr>
              <a:lnSpc>
                <a:spcPct val="100000"/>
              </a:lnSpc>
              <a:spcBef>
                <a:spcPts val="0"/>
              </a:spcBef>
              <a:defRPr sz="800" b="0" i="0">
                <a:solidFill>
                  <a:schemeClr val="tx1"/>
                </a:solidFill>
                <a:latin typeface="IBM Plex Sans Light" panose="020B0503050203000203" pitchFamily="34" charset="0"/>
              </a:defRPr>
            </a:lvl2pPr>
            <a:lvl3pPr>
              <a:lnSpc>
                <a:spcPct val="100000"/>
              </a:lnSpc>
              <a:spcBef>
                <a:spcPts val="0"/>
              </a:spcBef>
              <a:defRPr sz="800" b="0" i="0">
                <a:solidFill>
                  <a:schemeClr val="tx1"/>
                </a:solidFill>
                <a:latin typeface="IBM Plex Sans Light" panose="020B0503050203000203" pitchFamily="34" charset="0"/>
              </a:defRPr>
            </a:lvl3pPr>
            <a:lvl4pPr>
              <a:lnSpc>
                <a:spcPct val="10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495C3AC-E4B9-F837-204B-FF01953D40BE}"/>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22119C11-B0BD-168C-0C07-D70B259D3906}"/>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047380"/>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03962043"/>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422111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20"/>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8"/>
            <a:ext cx="7345035" cy="1429544"/>
          </a:xfrm>
        </p:spPr>
        <p:txBody>
          <a:bodyPr rIns="457200"/>
          <a:lstStyle>
            <a:lvl1pPr>
              <a:lnSpc>
                <a:spcPct val="100000"/>
              </a:lnSpc>
              <a:defRPr sz="3199">
                <a:solidFill>
                  <a:schemeClr val="tx2"/>
                </a:solidFill>
              </a:defRPr>
            </a:lvl1pPr>
          </a:lstStyle>
          <a:p>
            <a:r>
              <a:rPr lang="en-US" dirty="0"/>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endParaRPr lang="en-US" dirty="0"/>
          </a:p>
        </p:txBody>
      </p:sp>
    </p:spTree>
    <p:extLst>
      <p:ext uri="{BB962C8B-B14F-4D97-AF65-F5344CB8AC3E}">
        <p14:creationId xmlns:p14="http://schemas.microsoft.com/office/powerpoint/2010/main" val="401888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1"/>
            <a:ext cx="3711980" cy="953295"/>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r>
              <a:rPr lang="en-US"/>
              <a:t>© 2025 cloudflight / IBM Corporation </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5" y="6469421"/>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9" cy="4286251"/>
          </a:xfrm>
          <a:prstGeom prst="rect">
            <a:avLst/>
          </a:prstGeom>
        </p:spPr>
        <p:txBody>
          <a:bodyPr/>
          <a:lstStyle>
            <a:lvl1pPr defTabSz="580513">
              <a:lnSpc>
                <a:spcPct val="100000"/>
              </a:lnSpc>
              <a:spcBef>
                <a:spcPts val="0"/>
              </a:spcBef>
              <a:defRPr sz="1800" b="0" i="0">
                <a:solidFill>
                  <a:schemeClr val="tx1"/>
                </a:solidFill>
                <a:latin typeface="IBM Plex Sans Light" panose="020B0403050203000203" pitchFamily="34" charset="0"/>
              </a:defRPr>
            </a:lvl1pPr>
            <a:lvl2pPr defTabSz="580513">
              <a:lnSpc>
                <a:spcPct val="100000"/>
              </a:lnSpc>
              <a:spcBef>
                <a:spcPts val="0"/>
              </a:spcBef>
              <a:defRPr sz="1800" b="0" i="0">
                <a:solidFill>
                  <a:schemeClr val="tx1"/>
                </a:solidFill>
                <a:latin typeface="IBM Plex Sans Light" panose="020B0403050203000203" pitchFamily="34" charset="0"/>
              </a:defRPr>
            </a:lvl2pPr>
            <a:lvl3pPr defTabSz="580513">
              <a:lnSpc>
                <a:spcPct val="100000"/>
              </a:lnSpc>
              <a:spcBef>
                <a:spcPts val="0"/>
              </a:spcBef>
              <a:defRPr sz="1800" b="0" i="0">
                <a:solidFill>
                  <a:schemeClr val="tx1"/>
                </a:solidFill>
                <a:latin typeface="IBM Plex Sans Light" panose="020B0403050203000203" pitchFamily="34" charset="0"/>
              </a:defRPr>
            </a:lvl3pPr>
            <a:lvl4pPr defTabSz="580513">
              <a:lnSpc>
                <a:spcPct val="100000"/>
              </a:lnSpc>
              <a:spcBef>
                <a:spcPts val="0"/>
              </a:spcBef>
              <a:defRPr sz="1800" b="0" i="0">
                <a:solidFill>
                  <a:schemeClr val="tx1"/>
                </a:solidFill>
                <a:latin typeface="IBM Plex Sans Light" panose="020B0403050203000203" pitchFamily="34" charset="0"/>
              </a:defRPr>
            </a:lvl4pPr>
            <a:lvl5pPr defTabSz="58051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9" cy="4286251"/>
          </a:xfrm>
          <a:prstGeom prst="rect">
            <a:avLst/>
          </a:prstGeom>
        </p:spPr>
        <p:txBody>
          <a:bodyPr/>
          <a:lstStyle>
            <a:lvl1pPr defTabSz="580513">
              <a:lnSpc>
                <a:spcPct val="100000"/>
              </a:lnSpc>
              <a:spcBef>
                <a:spcPts val="0"/>
              </a:spcBef>
              <a:defRPr sz="1800" b="0" i="0">
                <a:solidFill>
                  <a:schemeClr val="tx1"/>
                </a:solidFill>
                <a:latin typeface="IBM Plex Sans Light" panose="020B0403050203000203" pitchFamily="34" charset="0"/>
              </a:defRPr>
            </a:lvl1pPr>
            <a:lvl2pPr defTabSz="580513">
              <a:lnSpc>
                <a:spcPct val="100000"/>
              </a:lnSpc>
              <a:spcBef>
                <a:spcPts val="0"/>
              </a:spcBef>
              <a:defRPr sz="1800" b="0" i="0">
                <a:solidFill>
                  <a:schemeClr val="tx1"/>
                </a:solidFill>
                <a:latin typeface="IBM Plex Sans Light" panose="020B0403050203000203" pitchFamily="34" charset="0"/>
              </a:defRPr>
            </a:lvl2pPr>
            <a:lvl3pPr defTabSz="580513">
              <a:lnSpc>
                <a:spcPct val="100000"/>
              </a:lnSpc>
              <a:spcBef>
                <a:spcPts val="0"/>
              </a:spcBef>
              <a:defRPr sz="1800" b="0" i="0">
                <a:solidFill>
                  <a:schemeClr val="tx1"/>
                </a:solidFill>
                <a:latin typeface="IBM Plex Sans Light" panose="020B0403050203000203" pitchFamily="34" charset="0"/>
              </a:defRPr>
            </a:lvl3pPr>
            <a:lvl4pPr defTabSz="580513">
              <a:lnSpc>
                <a:spcPct val="100000"/>
              </a:lnSpc>
              <a:spcBef>
                <a:spcPts val="0"/>
              </a:spcBef>
              <a:defRPr sz="1800" b="0" i="0">
                <a:solidFill>
                  <a:schemeClr val="tx1"/>
                </a:solidFill>
                <a:latin typeface="IBM Plex Sans Light" panose="020B0403050203000203" pitchFamily="34" charset="0"/>
              </a:defRPr>
            </a:lvl4pPr>
            <a:lvl5pPr defTabSz="58051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9498508"/>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8797099"/>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0717" cy="762794"/>
          </a:xfrm>
        </p:spPr>
        <p:txBody>
          <a:bodyPr/>
          <a:lstStyle>
            <a:lvl1pPr>
              <a:lnSpc>
                <a:spcPct val="100000"/>
              </a:lnSpc>
              <a:defRPr sz="33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63" y="1524000"/>
            <a:ext cx="2477765"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24000"/>
            <a:ext cx="2475384"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110" y="1524000"/>
            <a:ext cx="2479352"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2D830AE7-F6A6-A339-0B24-876A9554C9E3}"/>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31A616C3-34A8-1D7A-67C9-8B76F2D30BD0}"/>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829380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903" y="288036"/>
            <a:ext cx="2477765" cy="762794"/>
          </a:xfrm>
        </p:spPr>
        <p:txBody>
          <a:bodyPr/>
          <a:lstStyle>
            <a:lvl1pPr>
              <a:lnSpc>
                <a:spcPct val="110000"/>
              </a:lnSpc>
              <a:spcBef>
                <a:spcPts val="0"/>
              </a:spcBef>
              <a:defRPr sz="1000" b="0" i="0">
                <a:solidFill>
                  <a:schemeClr val="tx1"/>
                </a:solidFill>
                <a:latin typeface="IBM Plex Sans Light" panose="020B0503050203000203" pitchFamily="34" charset="0"/>
              </a:defRPr>
            </a:lvl1pPr>
            <a:lvl2pPr marL="91422" indent="-91422">
              <a:lnSpc>
                <a:spcPct val="110000"/>
              </a:lnSpc>
              <a:spcBef>
                <a:spcPts val="0"/>
              </a:spcBef>
              <a:defRPr sz="1000" b="0" i="0">
                <a:solidFill>
                  <a:schemeClr val="tx1"/>
                </a:solidFill>
                <a:latin typeface="IBM Plex Sans Light" panose="020B0503050203000203" pitchFamily="34" charset="0"/>
              </a:defRPr>
            </a:lvl2pPr>
            <a:lvl3pPr marL="182843" indent="-91422">
              <a:lnSpc>
                <a:spcPct val="110000"/>
              </a:lnSpc>
              <a:spcBef>
                <a:spcPts val="0"/>
              </a:spcBef>
              <a:defRPr sz="1000" b="0" i="0">
                <a:solidFill>
                  <a:schemeClr val="tx1"/>
                </a:solidFill>
                <a:latin typeface="IBM Plex Sans Light" panose="020B0503050203000203" pitchFamily="34" charset="0"/>
              </a:defRPr>
            </a:lvl3pPr>
            <a:lvl4pPr marL="274265" indent="-91422">
              <a:lnSpc>
                <a:spcPct val="110000"/>
              </a:lnSpc>
              <a:spcBef>
                <a:spcPts val="0"/>
              </a:spcBef>
              <a:defRPr sz="10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522413"/>
            <a:ext cx="0" cy="45727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522413"/>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522413"/>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3">
            <a:extLst>
              <a:ext uri="{FF2B5EF4-FFF2-40B4-BE49-F238E27FC236}">
                <a16:creationId xmlns:a16="http://schemas.microsoft.com/office/drawing/2014/main" id="{9A5E154F-497D-F356-4526-C17B1B098AC9}"/>
              </a:ext>
            </a:extLst>
          </p:cNvPr>
          <p:cNvSpPr>
            <a:spLocks noGrp="1"/>
          </p:cNvSpPr>
          <p:nvPr userDrawn="1">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A3714515-3CA1-0F75-0503-3208A09DFA76}"/>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10" name="Text Placeholder 4">
            <a:extLst>
              <a:ext uri="{FF2B5EF4-FFF2-40B4-BE49-F238E27FC236}">
                <a16:creationId xmlns:a16="http://schemas.microsoft.com/office/drawing/2014/main" id="{4B531E36-2064-83A6-3D5A-E40E324F8495}"/>
              </a:ext>
            </a:extLst>
          </p:cNvPr>
          <p:cNvSpPr>
            <a:spLocks noGrp="1"/>
          </p:cNvSpPr>
          <p:nvPr userDrawn="1">
            <p:ph type="body" sz="quarter" idx="11"/>
          </p:nvPr>
        </p:nvSpPr>
        <p:spPr>
          <a:xfrm>
            <a:off x="291173" y="1524000"/>
            <a:ext cx="2477765"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70587680-FBD6-A326-93E3-B3437A4124A3}"/>
              </a:ext>
            </a:extLst>
          </p:cNvPr>
          <p:cNvSpPr>
            <a:spLocks noGrp="1"/>
          </p:cNvSpPr>
          <p:nvPr userDrawn="1">
            <p:ph type="body" sz="quarter" idx="12"/>
          </p:nvPr>
        </p:nvSpPr>
        <p:spPr>
          <a:xfrm>
            <a:off x="3334904" y="1524000"/>
            <a:ext cx="2475384"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8">
            <a:extLst>
              <a:ext uri="{FF2B5EF4-FFF2-40B4-BE49-F238E27FC236}">
                <a16:creationId xmlns:a16="http://schemas.microsoft.com/office/drawing/2014/main" id="{CAE80882-A798-33A6-BF3F-DF9C75646C23}"/>
              </a:ext>
            </a:extLst>
          </p:cNvPr>
          <p:cNvSpPr>
            <a:spLocks noGrp="1"/>
          </p:cNvSpPr>
          <p:nvPr userDrawn="1">
            <p:ph type="body" sz="quarter" idx="13"/>
          </p:nvPr>
        </p:nvSpPr>
        <p:spPr>
          <a:xfrm>
            <a:off x="6389168" y="1524000"/>
            <a:ext cx="2476178"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0">
            <a:extLst>
              <a:ext uri="{FF2B5EF4-FFF2-40B4-BE49-F238E27FC236}">
                <a16:creationId xmlns:a16="http://schemas.microsoft.com/office/drawing/2014/main" id="{1809E051-5EDC-532B-0D86-AA9349AAA053}"/>
              </a:ext>
            </a:extLst>
          </p:cNvPr>
          <p:cNvSpPr>
            <a:spLocks noGrp="1"/>
          </p:cNvSpPr>
          <p:nvPr userDrawn="1">
            <p:ph type="body" sz="quarter" idx="14"/>
          </p:nvPr>
        </p:nvSpPr>
        <p:spPr>
          <a:xfrm>
            <a:off x="9430110" y="1524000"/>
            <a:ext cx="2479352" cy="4576763"/>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7494281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26.11.2025</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8355856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921519"/>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522413"/>
            <a:ext cx="2475384" cy="4579938"/>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6"/>
            <a:ext cx="2476178" cy="921519"/>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2412"/>
            <a:ext cx="2476178" cy="4579938"/>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a:cxnSpLocks/>
          </p:cNvCxnSpPr>
          <p:nvPr userDrawn="1"/>
        </p:nvCxnSpPr>
        <p:spPr bwMode="auto">
          <a:xfrm>
            <a:off x="6191657"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19E1AC9A-B000-435B-E4BC-54B09FB7957C}"/>
              </a:ext>
            </a:extLst>
          </p:cNvPr>
          <p:cNvCxnSpPr>
            <a:cxnSpLocks/>
          </p:cNvCxnSpPr>
          <p:nvPr userDrawn="1"/>
        </p:nvCxnSpPr>
        <p:spPr bwMode="auto">
          <a:xfrm>
            <a:off x="9240784"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userDrawn="1">
            <p:ph type="body" sz="quarter" idx="17"/>
          </p:nvPr>
        </p:nvSpPr>
        <p:spPr>
          <a:xfrm>
            <a:off x="9428522" y="288036"/>
            <a:ext cx="2479352" cy="921519"/>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userDrawn="1">
            <p:ph type="body" sz="quarter" idx="14"/>
          </p:nvPr>
        </p:nvSpPr>
        <p:spPr>
          <a:xfrm>
            <a:off x="9428522" y="1522412"/>
            <a:ext cx="2479352" cy="4579938"/>
          </a:xfrm>
        </p:spPr>
        <p:txBody>
          <a:bodyPr/>
          <a:lstStyle>
            <a:lvl1pPr>
              <a:spcBef>
                <a:spcPts val="0"/>
              </a:spcBef>
              <a:defRPr sz="1800" b="0" i="0">
                <a:solidFill>
                  <a:schemeClr val="tx1"/>
                </a:solidFill>
                <a:latin typeface="IBM Plex Sans Light" panose="020B0503050203000203" pitchFamily="34" charset="0"/>
              </a:defRPr>
            </a:lvl1pPr>
            <a:lvl2pPr marL="163767" indent="-163767">
              <a:spcBef>
                <a:spcPts val="0"/>
              </a:spcBef>
              <a:defRPr sz="1800" b="0" i="0">
                <a:solidFill>
                  <a:schemeClr val="tx1"/>
                </a:solidFill>
                <a:latin typeface="IBM Plex Sans Light" panose="020B0503050203000203" pitchFamily="34" charset="0"/>
              </a:defRPr>
            </a:lvl2pPr>
            <a:lvl3pPr marL="329334" indent="-163767">
              <a:spcBef>
                <a:spcPts val="0"/>
              </a:spcBef>
              <a:defRPr sz="1800" b="0" i="0">
                <a:solidFill>
                  <a:schemeClr val="tx1"/>
                </a:solidFill>
                <a:latin typeface="IBM Plex Sans Light" panose="020B0503050203000203" pitchFamily="34" charset="0"/>
              </a:defRPr>
            </a:lvl3pPr>
            <a:lvl4pPr marL="493101" indent="-163767">
              <a:spcBef>
                <a:spcPts val="0"/>
              </a:spcBef>
              <a:defRPr sz="18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6C3F2C39-1D80-7B1C-F53D-B11D6327AF07}"/>
              </a:ext>
            </a:extLst>
          </p:cNvPr>
          <p:cNvSpPr>
            <a:spLocks noGrp="1"/>
          </p:cNvSpPr>
          <p:nvPr userDrawn="1">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56961C62-D766-8A68-1FA3-BF6BE095543D}"/>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11334562"/>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0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63" y="1524000"/>
            <a:ext cx="2470717" cy="2289175"/>
          </a:xfrm>
        </p:spPr>
        <p:txBody>
          <a:bodyPr/>
          <a:lstStyle>
            <a:lvl1pPr>
              <a:lnSpc>
                <a:spcPct val="100000"/>
              </a:lnSpc>
              <a:spcBef>
                <a:spcPts val="0"/>
              </a:spcBef>
              <a:defRPr sz="3399">
                <a:solidFill>
                  <a:schemeClr val="tx1"/>
                </a:solidFill>
              </a:defRPr>
            </a:lvl1pPr>
          </a:lstStyle>
          <a:p>
            <a:pPr lvl="0"/>
            <a:r>
              <a:rPr lang="en-US"/>
              <a:t>Click to edit Master text styles</a:t>
            </a:r>
          </a:p>
        </p:txBody>
      </p: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4904" y="1524000"/>
            <a:ext cx="2475384" cy="4576763"/>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9168"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9168" y="1524000"/>
            <a:ext cx="2470738" cy="4576762"/>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30111" y="1524000"/>
            <a:ext cx="2470621" cy="4576763"/>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8C59ECBB-8567-F0FF-2B81-7CCA543AC3AF}"/>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193F0BFF-6925-3869-6436-5F209217E4E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3EC1ADC5-863A-1C19-32F5-F71459CCBF15}"/>
              </a:ext>
            </a:extLst>
          </p:cNvPr>
          <p:cNvCxnSpPr>
            <a:cxnSpLocks/>
          </p:cNvCxnSpPr>
          <p:nvPr userDrawn="1"/>
        </p:nvCxnSpPr>
        <p:spPr bwMode="auto">
          <a:xfrm>
            <a:off x="3047603" y="285052"/>
            <a:ext cx="0" cy="581571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descr="Vertical column divider">
            <a:extLst>
              <a:ext uri="{FF2B5EF4-FFF2-40B4-BE49-F238E27FC236}">
                <a16:creationId xmlns:a16="http://schemas.microsoft.com/office/drawing/2014/main" id="{72E1DB67-171C-F7FE-B9F6-5778755FF746}"/>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descr="Vertical column divider">
            <a:extLst>
              <a:ext uri="{FF2B5EF4-FFF2-40B4-BE49-F238E27FC236}">
                <a16:creationId xmlns:a16="http://schemas.microsoft.com/office/drawing/2014/main" id="{6EF3DAE3-95FD-80AD-F6F4-79B5745FA451}"/>
              </a:ext>
            </a:extLst>
          </p:cNvPr>
          <p:cNvCxnSpPr>
            <a:cxnSpLocks/>
          </p:cNvCxnSpPr>
          <p:nvPr userDrawn="1"/>
        </p:nvCxnSpPr>
        <p:spPr bwMode="auto">
          <a:xfrm>
            <a:off x="9142810"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49355098"/>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00"/>
            <a:ext cx="2470717" cy="1558989"/>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288000"/>
            <a:ext cx="2475385" cy="1100635"/>
          </a:xfrm>
        </p:spPr>
        <p:txBody>
          <a:bodyPr/>
          <a:lstStyle>
            <a:lvl1pPr>
              <a:lnSpc>
                <a:spcPct val="100000"/>
              </a:lnSpc>
              <a:spcBef>
                <a:spcPts val="0"/>
              </a:spcBef>
              <a:defRPr sz="33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143" y="1524000"/>
            <a:ext cx="2475384" cy="4576763"/>
          </a:xfrm>
        </p:spPr>
        <p:txBody>
          <a:bodyPr/>
          <a:lstStyle>
            <a:lvl1pPr>
              <a:spcBef>
                <a:spcPts val="0"/>
              </a:spcBef>
              <a:defRPr sz="1800" b="0" i="0">
                <a:solidFill>
                  <a:schemeClr val="tx1"/>
                </a:solidFill>
                <a:latin typeface="IBM Plex Sans Light" panose="020B0403050203000203" pitchFamily="34" charset="0"/>
              </a:defRPr>
            </a:lvl1pPr>
            <a:lvl2pPr marL="163767" indent="-163767">
              <a:spcBef>
                <a:spcPts val="0"/>
              </a:spcBef>
              <a:defRPr sz="1800" b="0" i="0">
                <a:solidFill>
                  <a:schemeClr val="tx1"/>
                </a:solidFill>
                <a:latin typeface="IBM Plex Sans Light" panose="020B0403050203000203" pitchFamily="34" charset="0"/>
              </a:defRPr>
            </a:lvl2pPr>
            <a:lvl3pPr marL="329334" indent="-163767">
              <a:spcBef>
                <a:spcPts val="0"/>
              </a:spcBef>
              <a:defRPr sz="1800" b="0" i="0">
                <a:solidFill>
                  <a:schemeClr val="tx1"/>
                </a:solidFill>
                <a:latin typeface="IBM Plex Sans Light" panose="020B0403050203000203" pitchFamily="34" charset="0"/>
              </a:defRPr>
            </a:lvl3pPr>
            <a:lvl4pPr marL="493101" indent="-163767">
              <a:spcBef>
                <a:spcPts val="0"/>
              </a:spcBef>
              <a:defRPr sz="18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1745" y="1524000"/>
            <a:ext cx="5047593" cy="4576763"/>
          </a:xfrm>
        </p:spPr>
        <p:txBody>
          <a:bodyPr/>
          <a:lstStyle>
            <a:lvl1pPr>
              <a:spcBef>
                <a:spcPts val="0"/>
              </a:spcBef>
              <a:defRPr sz="1800" b="0" i="0">
                <a:solidFill>
                  <a:schemeClr val="tx1"/>
                </a:solidFill>
                <a:latin typeface="IBM Plex Sans Light" panose="020B0403050203000203" pitchFamily="34" charset="0"/>
              </a:defRPr>
            </a:lvl1pPr>
            <a:lvl2pPr marL="163767" indent="-163767">
              <a:spcBef>
                <a:spcPts val="0"/>
              </a:spcBef>
              <a:defRPr sz="1800" b="0" i="0">
                <a:solidFill>
                  <a:schemeClr val="tx1"/>
                </a:solidFill>
                <a:latin typeface="IBM Plex Sans Light" panose="020B0403050203000203" pitchFamily="34" charset="0"/>
              </a:defRPr>
            </a:lvl2pPr>
            <a:lvl3pPr marL="329334" indent="-163767">
              <a:spcBef>
                <a:spcPts val="0"/>
              </a:spcBef>
              <a:defRPr sz="1800" b="0" i="0">
                <a:solidFill>
                  <a:schemeClr val="tx1"/>
                </a:solidFill>
                <a:latin typeface="IBM Plex Sans Light" panose="020B0403050203000203" pitchFamily="34" charset="0"/>
              </a:defRPr>
            </a:lvl3pPr>
            <a:lvl4pPr marL="493101" indent="-163767">
              <a:spcBef>
                <a:spcPts val="0"/>
              </a:spcBef>
              <a:defRPr sz="18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C93AC5E-9451-FF93-87DD-889A48A00DD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D1F6E83E-BB80-D71A-7819-884C0CD4799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3625849"/>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63" y="288036"/>
            <a:ext cx="3711980" cy="953294"/>
          </a:xfrm>
        </p:spPr>
        <p:txBody>
          <a:bodyPr/>
          <a:lstStyle>
            <a:lvl1pPr>
              <a:lnSpc>
                <a:spcPct val="100000"/>
              </a:lnSpc>
              <a:defRPr sz="33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63" y="1524000"/>
            <a:ext cx="5049180" cy="4576762"/>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9168" y="1524000"/>
            <a:ext cx="5047593" cy="4576763"/>
          </a:xfrm>
        </p:spPr>
        <p:txBody>
          <a:bodyPr/>
          <a:lstStyle>
            <a:lvl1pPr>
              <a:lnSpc>
                <a:spcPct val="110000"/>
              </a:lnSpc>
              <a:spcBef>
                <a:spcPts val="0"/>
              </a:spcBef>
              <a:defRPr>
                <a:solidFill>
                  <a:schemeClr val="tx1"/>
                </a:solidFill>
              </a:defRPr>
            </a:lvl1pPr>
            <a:lvl2pPr>
              <a:lnSpc>
                <a:spcPct val="100000"/>
              </a:lnSpc>
              <a:spcBef>
                <a:spcPts val="0"/>
              </a:spcBef>
              <a:defRPr>
                <a:solidFill>
                  <a:schemeClr val="tx1"/>
                </a:solidFill>
              </a:defRPr>
            </a:lvl2pPr>
            <a:lvl3pPr>
              <a:lnSpc>
                <a:spcPct val="100000"/>
              </a:lnSpc>
              <a:spcBef>
                <a:spcPts val="0"/>
              </a:spcBef>
              <a:defRPr>
                <a:solidFill>
                  <a:schemeClr val="tx1"/>
                </a:solidFill>
              </a:defRPr>
            </a:lvl3pPr>
            <a:lvl4pPr>
              <a:lnSpc>
                <a:spcPct val="10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9E836C4-97D9-E198-E7C4-C2E94BADE6BD}"/>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A861A72C-9D4B-8178-79CE-382DDE87CD24}"/>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441723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288000"/>
            <a:ext cx="5517527" cy="2105089"/>
          </a:xfrm>
        </p:spPr>
        <p:txBody>
          <a:bodyPr rIns="457200"/>
          <a:lstStyle>
            <a:lvl1pPr>
              <a:lnSpc>
                <a:spcPct val="100000"/>
              </a:lnSpc>
              <a:defRPr sz="33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2507" y="288036"/>
            <a:ext cx="2474590" cy="580955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36"/>
            <a:ext cx="2470622" cy="580955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A8BE2778-A9AA-3756-3479-C4A6DD4F0F00}"/>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31D49C41-81F4-5A73-2F6D-EF2D5E383721}"/>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132513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288036"/>
            <a:ext cx="2470717" cy="1997964"/>
          </a:xfrm>
        </p:spPr>
        <p:txBody>
          <a:bodyPr/>
          <a:lstStyle>
            <a:lvl1pPr>
              <a:lnSpc>
                <a:spcPct val="100000"/>
              </a:lnSpc>
              <a:defRPr sz="21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9168" y="288000"/>
            <a:ext cx="2476178" cy="5811044"/>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00"/>
            <a:ext cx="2470622" cy="5811044"/>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B9B0455-A1CF-B58E-3124-86D0B0DD2BB2}"/>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964E5562-E403-533D-BEAD-AB50713ED183}"/>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14137295"/>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3" y="288000"/>
            <a:ext cx="5519019" cy="2105088"/>
          </a:xfrm>
        </p:spPr>
        <p:txBody>
          <a:bodyPr rIns="457200"/>
          <a:lstStyle>
            <a:lvl1pPr>
              <a:lnSpc>
                <a:spcPct val="100000"/>
              </a:lnSpc>
              <a:defRPr sz="3399">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8" y="288036"/>
            <a:ext cx="2476178" cy="938881"/>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8" y="1524000"/>
            <a:ext cx="2476178" cy="4576763"/>
          </a:xfrm>
        </p:spPr>
        <p:txBody>
          <a:bodyPr/>
          <a:lstStyle>
            <a:lvl1pPr>
              <a:lnSpc>
                <a:spcPct val="110000"/>
              </a:lnSpc>
              <a:spcBef>
                <a:spcPts val="0"/>
              </a:spcBef>
              <a:defRPr sz="1800" b="0" i="0">
                <a:solidFill>
                  <a:schemeClr val="tx1"/>
                </a:solidFill>
                <a:latin typeface="IBM Plex Sans Light" panose="020B0503050203000203" pitchFamily="34" charset="0"/>
              </a:defRPr>
            </a:lvl1pPr>
            <a:lvl2pPr marL="163767" indent="-163767">
              <a:lnSpc>
                <a:spcPct val="100000"/>
              </a:lnSpc>
              <a:spcBef>
                <a:spcPts val="0"/>
              </a:spcBef>
              <a:defRPr sz="1800" b="0" i="0">
                <a:solidFill>
                  <a:schemeClr val="tx1"/>
                </a:solidFill>
                <a:latin typeface="IBM Plex Sans Light" panose="020B0503050203000203" pitchFamily="34" charset="0"/>
              </a:defRPr>
            </a:lvl2pPr>
            <a:lvl3pPr marL="329334" indent="-163767">
              <a:lnSpc>
                <a:spcPct val="100000"/>
              </a:lnSpc>
              <a:spcBef>
                <a:spcPts val="0"/>
              </a:spcBef>
              <a:defRPr sz="1800" b="0" i="0">
                <a:solidFill>
                  <a:schemeClr val="tx1"/>
                </a:solidFill>
                <a:latin typeface="IBM Plex Sans Light" panose="020B0503050203000203" pitchFamily="34" charset="0"/>
              </a:defRPr>
            </a:lvl3pPr>
            <a:lvl4pPr marL="493101" indent="-163767">
              <a:lnSpc>
                <a:spcPct val="100000"/>
              </a:lnSpc>
              <a:spcBef>
                <a:spcPts val="0"/>
              </a:spcBef>
              <a:defRPr sz="18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938881"/>
          </a:xfrm>
        </p:spPr>
        <p:txBody>
          <a:bodyPr/>
          <a:lstStyle>
            <a:lvl1pPr>
              <a:lnSpc>
                <a:spcPct val="11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523999"/>
            <a:ext cx="2476178" cy="4576763"/>
          </a:xfrm>
        </p:spPr>
        <p:txBody>
          <a:bodyPr/>
          <a:lstStyle>
            <a:lvl1pPr>
              <a:lnSpc>
                <a:spcPct val="110000"/>
              </a:lnSpc>
              <a:spcBef>
                <a:spcPts val="0"/>
              </a:spcBef>
              <a:defRPr sz="1800" b="0" i="0">
                <a:solidFill>
                  <a:schemeClr val="tx1"/>
                </a:solidFill>
                <a:latin typeface="IBM Plex Sans Light" panose="020B0503050203000203" pitchFamily="34" charset="0"/>
              </a:defRPr>
            </a:lvl1pPr>
            <a:lvl2pPr marL="163767" indent="-163767">
              <a:lnSpc>
                <a:spcPct val="100000"/>
              </a:lnSpc>
              <a:spcBef>
                <a:spcPts val="0"/>
              </a:spcBef>
              <a:defRPr sz="1800" b="0" i="0">
                <a:solidFill>
                  <a:schemeClr val="tx1"/>
                </a:solidFill>
                <a:latin typeface="IBM Plex Sans Light" panose="020B0503050203000203" pitchFamily="34" charset="0"/>
              </a:defRPr>
            </a:lvl2pPr>
            <a:lvl3pPr marL="329334" indent="-163767">
              <a:lnSpc>
                <a:spcPct val="100000"/>
              </a:lnSpc>
              <a:spcBef>
                <a:spcPts val="0"/>
              </a:spcBef>
              <a:defRPr sz="1800" b="0" i="0">
                <a:solidFill>
                  <a:schemeClr val="tx1"/>
                </a:solidFill>
                <a:latin typeface="IBM Plex Sans Light" panose="020B0503050203000203" pitchFamily="34" charset="0"/>
              </a:defRPr>
            </a:lvl3pPr>
            <a:lvl4pPr marL="493101" indent="-163767">
              <a:lnSpc>
                <a:spcPct val="100000"/>
              </a:lnSpc>
              <a:spcBef>
                <a:spcPts val="0"/>
              </a:spcBef>
              <a:defRPr sz="18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196BE21-C69D-85CB-EE77-49D2E4993A04}"/>
              </a:ext>
            </a:extLst>
          </p:cNvPr>
          <p:cNvSpPr>
            <a:spLocks noGrp="1"/>
          </p:cNvSpPr>
          <p:nvPr>
            <p:ph type="ftr" sz="quarter" idx="20"/>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DBB179B0-7DF8-112C-BC38-B65090C6DD68}"/>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84337319"/>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2" y="288036"/>
            <a:ext cx="2474591" cy="1997964"/>
          </a:xfrm>
        </p:spPr>
        <p:txBody>
          <a:bodyPr rIns="0"/>
          <a:lstStyle>
            <a:lvl1pPr>
              <a:lnSpc>
                <a:spcPct val="100000"/>
              </a:lnSpc>
              <a:defRPr sz="21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8" y="288036"/>
            <a:ext cx="2476178" cy="938881"/>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8" y="1524000"/>
            <a:ext cx="2476178" cy="4576763"/>
          </a:xfrm>
        </p:spPr>
        <p:txBody>
          <a:bodyPr/>
          <a:lstStyle>
            <a:lvl1pPr>
              <a:lnSpc>
                <a:spcPct val="110000"/>
              </a:lnSpc>
              <a:spcBef>
                <a:spcPts val="0"/>
              </a:spcBef>
              <a:defRPr sz="1200" b="0" i="0">
                <a:solidFill>
                  <a:schemeClr val="tx1"/>
                </a:solidFill>
                <a:latin typeface="IBM Plex Sans Light" panose="020B0503050203000203" pitchFamily="34" charset="0"/>
              </a:defRPr>
            </a:lvl1pPr>
            <a:lvl2pPr marL="163767" indent="-163767">
              <a:lnSpc>
                <a:spcPct val="100000"/>
              </a:lnSpc>
              <a:spcBef>
                <a:spcPts val="0"/>
              </a:spcBef>
              <a:defRPr sz="1200" b="0" i="0">
                <a:solidFill>
                  <a:schemeClr val="tx1"/>
                </a:solidFill>
                <a:latin typeface="IBM Plex Sans Light" panose="020B0503050203000203" pitchFamily="34" charset="0"/>
              </a:defRPr>
            </a:lvl2pPr>
            <a:lvl3pPr marL="329334" indent="-163767">
              <a:lnSpc>
                <a:spcPct val="100000"/>
              </a:lnSpc>
              <a:spcBef>
                <a:spcPts val="0"/>
              </a:spcBef>
              <a:defRPr sz="1200" b="0" i="0">
                <a:solidFill>
                  <a:schemeClr val="tx1"/>
                </a:solidFill>
                <a:latin typeface="IBM Plex Sans Light" panose="020B0503050203000203" pitchFamily="34" charset="0"/>
              </a:defRPr>
            </a:lvl3pPr>
            <a:lvl4pPr marL="493101" indent="-163767">
              <a:lnSpc>
                <a:spcPct val="100000"/>
              </a:lnSpc>
              <a:spcBef>
                <a:spcPts val="0"/>
              </a:spcBef>
              <a:defRPr sz="12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30110" y="288036"/>
            <a:ext cx="2470717" cy="938881"/>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524000"/>
            <a:ext cx="2476178" cy="4576763"/>
          </a:xfrm>
        </p:spPr>
        <p:txBody>
          <a:bodyPr/>
          <a:lstStyle>
            <a:lvl1pPr>
              <a:lnSpc>
                <a:spcPct val="110000"/>
              </a:lnSpc>
              <a:spcBef>
                <a:spcPts val="0"/>
              </a:spcBef>
              <a:defRPr sz="1200" b="0" i="0">
                <a:solidFill>
                  <a:schemeClr val="tx1"/>
                </a:solidFill>
                <a:latin typeface="IBM Plex Sans Light" panose="020B0503050203000203" pitchFamily="34" charset="0"/>
              </a:defRPr>
            </a:lvl1pPr>
            <a:lvl2pPr marL="163767" indent="-163767">
              <a:lnSpc>
                <a:spcPct val="100000"/>
              </a:lnSpc>
              <a:spcBef>
                <a:spcPts val="0"/>
              </a:spcBef>
              <a:defRPr sz="1200" b="0" i="0">
                <a:solidFill>
                  <a:schemeClr val="tx1"/>
                </a:solidFill>
                <a:latin typeface="IBM Plex Sans Light" panose="020B0503050203000203" pitchFamily="34" charset="0"/>
              </a:defRPr>
            </a:lvl2pPr>
            <a:lvl3pPr marL="329334" indent="-163767">
              <a:lnSpc>
                <a:spcPct val="100000"/>
              </a:lnSpc>
              <a:spcBef>
                <a:spcPts val="0"/>
              </a:spcBef>
              <a:defRPr sz="1200" b="0" i="0">
                <a:solidFill>
                  <a:schemeClr val="tx1"/>
                </a:solidFill>
                <a:latin typeface="IBM Plex Sans Light" panose="020B0503050203000203" pitchFamily="34" charset="0"/>
              </a:defRPr>
            </a:lvl3pPr>
            <a:lvl4pPr marL="493101" indent="-163767">
              <a:lnSpc>
                <a:spcPct val="100000"/>
              </a:lnSpc>
              <a:spcBef>
                <a:spcPts val="0"/>
              </a:spcBef>
              <a:defRPr sz="1200" b="0" i="0">
                <a:solidFill>
                  <a:schemeClr val="tx1"/>
                </a:solidFill>
                <a:latin typeface="IBM Plex Sans Light" panose="020B0503050203000203" pitchFamily="34" charset="0"/>
              </a:defRPr>
            </a:lvl4pPr>
            <a:lvl5pPr>
              <a:lnSpc>
                <a:spcPct val="110000"/>
              </a:lnSpc>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2FA1770-E046-DD8F-9F28-19D80D1D67C2}"/>
              </a:ext>
            </a:extLst>
          </p:cNvPr>
          <p:cNvSpPr>
            <a:spLocks noGrp="1"/>
          </p:cNvSpPr>
          <p:nvPr>
            <p:ph type="ftr" sz="quarter" idx="20"/>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91ADA982-549A-4D2D-490A-DE5610A50878}"/>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3211353"/>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00"/>
            <a:ext cx="2474590" cy="2105089"/>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288000"/>
            <a:ext cx="2477765" cy="1555292"/>
          </a:xfrm>
        </p:spPr>
        <p:txBody>
          <a:bodyPr/>
          <a:lstStyle>
            <a:lvl1pPr>
              <a:lnSpc>
                <a:spcPct val="100000"/>
              </a:lnSpc>
              <a:spcBef>
                <a:spcPts val="0"/>
              </a:spcBef>
              <a:defRPr sz="33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08395"/>
            <a:ext cx="2475384" cy="4594294"/>
          </a:xfrm>
        </p:spPr>
        <p:txBody>
          <a:bodyPr/>
          <a:lstStyle>
            <a:lvl1pPr>
              <a:spcBef>
                <a:spcPts val="0"/>
              </a:spcBef>
              <a:defRPr sz="1800" b="0" i="0">
                <a:solidFill>
                  <a:schemeClr val="tx1"/>
                </a:solidFill>
                <a:latin typeface="IBM Plex Sans Light" panose="020B0403050203000203" pitchFamily="34" charset="0"/>
              </a:defRPr>
            </a:lvl1pPr>
            <a:lvl2pPr marL="163767" indent="-163767">
              <a:spcBef>
                <a:spcPts val="0"/>
              </a:spcBef>
              <a:defRPr sz="1800" b="0" i="0">
                <a:solidFill>
                  <a:schemeClr val="tx1"/>
                </a:solidFill>
                <a:latin typeface="IBM Plex Sans Light" panose="020B0403050203000203" pitchFamily="34" charset="0"/>
              </a:defRPr>
            </a:lvl2pPr>
            <a:lvl3pPr marL="329334" indent="-163767">
              <a:spcBef>
                <a:spcPts val="0"/>
              </a:spcBef>
              <a:defRPr sz="1800" b="0" i="0">
                <a:solidFill>
                  <a:schemeClr val="tx1"/>
                </a:solidFill>
                <a:latin typeface="IBM Plex Sans Light" panose="020B0403050203000203" pitchFamily="34" charset="0"/>
              </a:defRPr>
            </a:lvl3pPr>
            <a:lvl4pPr marL="493101" indent="-163767">
              <a:spcBef>
                <a:spcPts val="0"/>
              </a:spcBef>
              <a:defRPr sz="18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9168"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6763"/>
          </a:xfrm>
        </p:spPr>
        <p:txBody>
          <a:bodyPr/>
          <a:lstStyle>
            <a:lvl1pPr>
              <a:spcBef>
                <a:spcPts val="0"/>
              </a:spcBef>
              <a:defRPr sz="1200" b="0" i="0">
                <a:solidFill>
                  <a:schemeClr val="tx1"/>
                </a:solidFill>
                <a:latin typeface="IBM Plex Sans Light" panose="020B0503050203000203" pitchFamily="34" charset="0"/>
              </a:defRPr>
            </a:lvl1pPr>
            <a:lvl2pPr marL="163767" indent="-163767">
              <a:spcBef>
                <a:spcPts val="0"/>
              </a:spcBef>
              <a:defRPr sz="1200" b="0" i="0">
                <a:solidFill>
                  <a:schemeClr val="tx1"/>
                </a:solidFill>
                <a:latin typeface="IBM Plex Sans Light" panose="020B0503050203000203" pitchFamily="34" charset="0"/>
              </a:defRPr>
            </a:lvl2pPr>
            <a:lvl3pPr marL="329334" indent="-163767">
              <a:spcBef>
                <a:spcPts val="0"/>
              </a:spcBef>
              <a:defRPr sz="1200" b="0" i="0">
                <a:solidFill>
                  <a:schemeClr val="tx1"/>
                </a:solidFill>
                <a:latin typeface="IBM Plex Sans Light" panose="020B0503050203000203" pitchFamily="34" charset="0"/>
              </a:defRPr>
            </a:lvl3pPr>
            <a:lvl4pPr marL="493101" indent="-163767">
              <a:spcBef>
                <a:spcPts val="0"/>
              </a:spcBef>
              <a:defRPr sz="12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524000"/>
            <a:ext cx="2479352" cy="4576763"/>
          </a:xfrm>
        </p:spPr>
        <p:txBody>
          <a:bodyPr/>
          <a:lstStyle>
            <a:lvl1pPr>
              <a:spcBef>
                <a:spcPts val="0"/>
              </a:spcBef>
              <a:defRPr sz="1200" b="0" i="0">
                <a:solidFill>
                  <a:schemeClr val="tx1"/>
                </a:solidFill>
                <a:latin typeface="IBM Plex Sans Light" panose="020B0503050203000203" pitchFamily="34" charset="0"/>
              </a:defRPr>
            </a:lvl1pPr>
            <a:lvl2pPr marL="163767" indent="-163767">
              <a:spcBef>
                <a:spcPts val="0"/>
              </a:spcBef>
              <a:defRPr sz="1200" b="0" i="0">
                <a:solidFill>
                  <a:schemeClr val="tx1"/>
                </a:solidFill>
                <a:latin typeface="IBM Plex Sans Light" panose="020B0503050203000203" pitchFamily="34" charset="0"/>
              </a:defRPr>
            </a:lvl2pPr>
            <a:lvl3pPr marL="329334" indent="-163767">
              <a:spcBef>
                <a:spcPts val="0"/>
              </a:spcBef>
              <a:defRPr sz="1200" b="0" i="0">
                <a:solidFill>
                  <a:schemeClr val="tx1"/>
                </a:solidFill>
                <a:latin typeface="IBM Plex Sans Light" panose="020B0503050203000203" pitchFamily="34" charset="0"/>
              </a:defRPr>
            </a:lvl3pPr>
            <a:lvl4pPr marL="493101" indent="-163767">
              <a:spcBef>
                <a:spcPts val="0"/>
              </a:spcBef>
              <a:defRPr sz="1200" b="0" i="0">
                <a:solidFill>
                  <a:schemeClr val="tx1"/>
                </a:solidFill>
                <a:latin typeface="IBM Plex Sans Light" panose="020B0503050203000203" pitchFamily="34" charset="0"/>
              </a:defRPr>
            </a:lvl4pPr>
            <a:lvl5pPr>
              <a:spcBef>
                <a:spcPts val="0"/>
              </a:spcBef>
              <a:defRPr sz="1000" b="0" i="0">
                <a:solidFill>
                  <a:schemeClr val="tx1"/>
                </a:solidFill>
                <a:latin typeface="IBM Plex Sans Light"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7E14D98-D346-214C-0437-7A0B4A7F3F06}"/>
              </a:ext>
            </a:extLst>
          </p:cNvPr>
          <p:cNvSpPr>
            <a:spLocks noGrp="1"/>
          </p:cNvSpPr>
          <p:nvPr>
            <p:ph type="ftr" sz="quarter" idx="18"/>
          </p:nvPr>
        </p:nvSpPr>
        <p:spPr>
          <a:xfrm>
            <a:off x="290474" y="6411643"/>
            <a:ext cx="2477765" cy="190500"/>
          </a:xfrm>
          <a:prstGeom prst="rect">
            <a:avLst/>
          </a:prstGeom>
        </p:spPr>
        <p:txBody>
          <a:bodyPr/>
          <a:lstStyle/>
          <a:p>
            <a:r>
              <a:rPr lang="en-US"/>
              <a:t>© 2025 cloudflight / IBM Corporation </a:t>
            </a:r>
          </a:p>
        </p:txBody>
      </p:sp>
      <p:sp>
        <p:nvSpPr>
          <p:cNvPr id="10" name="Slide Number">
            <a:extLst>
              <a:ext uri="{FF2B5EF4-FFF2-40B4-BE49-F238E27FC236}">
                <a16:creationId xmlns:a16="http://schemas.microsoft.com/office/drawing/2014/main" id="{8CDC5D22-5EFB-A82A-2192-76A569B4B0D5}"/>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8" name="Straight Connector 7" descr="Vertical column divider">
            <a:extLst>
              <a:ext uri="{FF2B5EF4-FFF2-40B4-BE49-F238E27FC236}">
                <a16:creationId xmlns:a16="http://schemas.microsoft.com/office/drawing/2014/main" id="{75E2B956-D8A8-9075-0842-BD0DAFFD4122}"/>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BE2C4D34-A499-856F-2ED0-C6A511B884A1}"/>
              </a:ext>
            </a:extLst>
          </p:cNvPr>
          <p:cNvCxnSpPr>
            <a:cxnSpLocks/>
          </p:cNvCxnSpPr>
          <p:nvPr userDrawn="1"/>
        </p:nvCxnSpPr>
        <p:spPr bwMode="auto">
          <a:xfrm>
            <a:off x="914281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8159374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9168"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9168" y="1238250"/>
            <a:ext cx="3337125" cy="1524000"/>
          </a:xfrm>
        </p:spPr>
        <p:txBody>
          <a:bodyPr/>
          <a:lstStyle>
            <a:lvl1pPr>
              <a:lnSpc>
                <a:spcPct val="10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a:cxnSpLocks/>
          </p:cNvCxnSpPr>
          <p:nvPr userDrawn="1"/>
        </p:nvCxnSpPr>
        <p:spPr bwMode="auto">
          <a:xfrm>
            <a:off x="287999" y="3048000"/>
            <a:ext cx="116167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0400"/>
            <a:ext cx="3334904" cy="1524000"/>
          </a:xfrm>
        </p:spPr>
        <p:txBody>
          <a:bodyPr/>
          <a:lstStyle>
            <a:lvl1pPr>
              <a:lnSpc>
                <a:spcPct val="10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9168"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9168" y="4191000"/>
            <a:ext cx="3337125" cy="1524000"/>
          </a:xfrm>
        </p:spPr>
        <p:txBody>
          <a:bodyPr/>
          <a:lstStyle>
            <a:lvl1pPr>
              <a:lnSpc>
                <a:spcPct val="100000"/>
              </a:lnSpc>
              <a:spcBef>
                <a:spcPts val="0"/>
              </a:spcBef>
              <a:defRPr sz="2100">
                <a:solidFill>
                  <a:schemeClr val="tx1"/>
                </a:solidFill>
              </a:defRPr>
            </a:lvl1pPr>
            <a:lvl2pPr marL="163767" indent="-163767">
              <a:lnSpc>
                <a:spcPct val="100000"/>
              </a:lnSpc>
              <a:spcBef>
                <a:spcPts val="0"/>
              </a:spcBef>
              <a:defRPr sz="2100">
                <a:solidFill>
                  <a:schemeClr val="tx1"/>
                </a:solidFill>
              </a:defRPr>
            </a:lvl2pPr>
            <a:lvl3pPr marL="329334" indent="-163767">
              <a:lnSpc>
                <a:spcPct val="100000"/>
              </a:lnSpc>
              <a:spcBef>
                <a:spcPts val="0"/>
              </a:spcBef>
              <a:defRPr sz="2100">
                <a:solidFill>
                  <a:schemeClr val="tx1"/>
                </a:solidFill>
              </a:defRPr>
            </a:lvl3pPr>
            <a:lvl4pPr marL="493101" indent="-163767">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FC9DA86-6E63-7EF1-DAC1-73040332758F}"/>
              </a:ext>
            </a:extLst>
          </p:cNvPr>
          <p:cNvSpPr>
            <a:spLocks noGrp="1"/>
          </p:cNvSpPr>
          <p:nvPr>
            <p:ph type="ftr" sz="quarter" idx="19"/>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BE7CD285-42F9-CF03-AB5C-1DC86205FBC3}"/>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E664AD27-CDB8-1E16-6F0A-1A4FF8BD97F5}"/>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66177464"/>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D3EB3054-B75A-4BD7-8B3E-8DC0F614FAF3}" type="datetimeFigureOut">
              <a:rPr lang="de-DE" smtClean="0"/>
              <a:t>26.11.20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7429017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3" y="288036"/>
            <a:ext cx="2480241" cy="231077"/>
          </a:xfrm>
        </p:spPr>
        <p:txBody>
          <a:bodyPr/>
          <a:lstStyle>
            <a:lvl1pPr>
              <a:lnSpc>
                <a:spcPct val="100000"/>
              </a:lnSpc>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2" y="762000"/>
            <a:ext cx="2473892" cy="1524000"/>
          </a:xfrm>
        </p:spPr>
        <p:txBody>
          <a:bodyPr/>
          <a:lstStyle>
            <a:lvl1pPr>
              <a:lnSpc>
                <a:spcPct val="100000"/>
              </a:lnSpc>
              <a:defRPr sz="21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7"/>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0" y="288036"/>
            <a:ext cx="2479352"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8" y="3335338"/>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09" y="3335338"/>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93757351"/>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3" y="288036"/>
            <a:ext cx="2480241" cy="231077"/>
          </a:xfrm>
        </p:spPr>
        <p:txBody>
          <a:bodyPr/>
          <a:lstStyle>
            <a:lvl1pPr>
              <a:lnSpc>
                <a:spcPct val="100000"/>
              </a:lnSpc>
              <a:defRPr sz="1400">
                <a:solidFill>
                  <a:schemeClr val="tx2"/>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7"/>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0" y="288036"/>
            <a:ext cx="2479352"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8" y="3335338"/>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09" y="3335338"/>
            <a:ext cx="2476178" cy="2474214"/>
          </a:xfrm>
        </p:spPr>
        <p:txBody>
          <a:bodyPr/>
          <a:lstStyle>
            <a:lvl1pPr>
              <a:lnSpc>
                <a:spcPct val="110000"/>
              </a:lnSpc>
              <a:spcBef>
                <a:spcPts val="0"/>
              </a:spcBef>
              <a:defRPr sz="1800" b="0" i="0">
                <a:solidFill>
                  <a:schemeClr val="tx1"/>
                </a:solidFill>
                <a:latin typeface="IBM Plex Sans Light" panose="020B0403050203000203" pitchFamily="34" charset="0"/>
              </a:defRPr>
            </a:lvl1pPr>
            <a:lvl2pPr marL="163767" indent="-163767">
              <a:lnSpc>
                <a:spcPct val="100000"/>
              </a:lnSpc>
              <a:spcBef>
                <a:spcPts val="0"/>
              </a:spcBef>
              <a:defRPr sz="1800" b="0" i="0">
                <a:solidFill>
                  <a:schemeClr val="tx1"/>
                </a:solidFill>
                <a:latin typeface="IBM Plex Sans Light" panose="020B0403050203000203" pitchFamily="34" charset="0"/>
              </a:defRPr>
            </a:lvl2pPr>
            <a:lvl3pPr marL="329334" indent="-163767">
              <a:lnSpc>
                <a:spcPct val="100000"/>
              </a:lnSpc>
              <a:spcBef>
                <a:spcPts val="0"/>
              </a:spcBef>
              <a:defRPr sz="1800" b="0" i="0">
                <a:solidFill>
                  <a:schemeClr val="tx1"/>
                </a:solidFill>
                <a:latin typeface="IBM Plex Sans Light" panose="020B0403050203000203" pitchFamily="34" charset="0"/>
              </a:defRPr>
            </a:lvl3pPr>
            <a:lvl4pPr marL="493101" indent="-163767">
              <a:lnSpc>
                <a:spcPct val="100000"/>
              </a:lnSpc>
              <a:spcBef>
                <a:spcPts val="0"/>
              </a:spcBef>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0"/>
            <a:ext cx="2477765" cy="190500"/>
          </a:xfrm>
          <a:prstGeom prst="rect">
            <a:avLst/>
          </a:prstGeom>
        </p:spPr>
        <p:txBody>
          <a:bodyPr/>
          <a:lstStyle/>
          <a:p>
            <a:r>
              <a:rPr lang="en-US"/>
              <a:t>© 2025 cloudflight / IBM Corporation </a:t>
            </a:r>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8009016F-5759-0B27-8DB2-77BDD7980942}"/>
              </a:ext>
            </a:extLst>
          </p:cNvPr>
          <p:cNvSpPr>
            <a:spLocks noGrp="1"/>
          </p:cNvSpPr>
          <p:nvPr>
            <p:ph type="title"/>
          </p:nvPr>
        </p:nvSpPr>
        <p:spPr>
          <a:xfrm>
            <a:off x="287963" y="761936"/>
            <a:ext cx="5521401" cy="2286064"/>
          </a:xfrm>
        </p:spPr>
        <p:txBody>
          <a:bodyPr rIns="457200"/>
          <a:lstStyle>
            <a:lvl1pPr>
              <a:lnSpc>
                <a:spcPct val="100000"/>
              </a:lnSpc>
              <a:defRPr sz="3399">
                <a:solidFill>
                  <a:schemeClr val="tx2"/>
                </a:solidFill>
              </a:defRPr>
            </a:lvl1pPr>
          </a:lstStyle>
          <a:p>
            <a:r>
              <a:rPr lang="en-US"/>
              <a:t>Click to edit Master title style</a:t>
            </a:r>
          </a:p>
        </p:txBody>
      </p:sp>
    </p:spTree>
    <p:extLst>
      <p:ext uri="{BB962C8B-B14F-4D97-AF65-F5344CB8AC3E}">
        <p14:creationId xmlns:p14="http://schemas.microsoft.com/office/powerpoint/2010/main" val="1920497524"/>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37941"/>
            <a:ext cx="2474590" cy="2759647"/>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B933E98-EDAA-167B-D822-384AE57CFD4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9CE74F70-DD3B-B787-1122-8CC2F06AD01A}"/>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73047254-F916-4821-F269-6EDEB3A3FAD7}"/>
              </a:ext>
            </a:extLst>
          </p:cNvPr>
          <p:cNvSpPr>
            <a:spLocks noGrp="1"/>
          </p:cNvSpPr>
          <p:nvPr>
            <p:ph type="body" sz="quarter" idx="21"/>
          </p:nvPr>
        </p:nvSpPr>
        <p:spPr>
          <a:xfrm>
            <a:off x="287963" y="288036"/>
            <a:ext cx="2470717" cy="1997964"/>
          </a:xfrm>
        </p:spPr>
        <p:txBody>
          <a:bodyPr/>
          <a:lstStyle>
            <a:lvl1pPr>
              <a:lnSpc>
                <a:spcPct val="100000"/>
              </a:lnSpc>
              <a:defRPr sz="21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486981040"/>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62" y="288000"/>
            <a:ext cx="5517779" cy="2105089"/>
          </a:xfrm>
        </p:spPr>
        <p:txBody>
          <a:bodyPr rIns="457200"/>
          <a:lstStyle>
            <a:lvl1pPr>
              <a:lnSpc>
                <a:spcPct val="100000"/>
              </a:lnSpc>
              <a:defRPr sz="3399">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A61589D3-5821-F43C-9924-D7FBDD5E84A5}"/>
              </a:ext>
            </a:extLst>
          </p:cNvPr>
          <p:cNvSpPr>
            <a:spLocks noGrp="1"/>
          </p:cNvSpPr>
          <p:nvPr>
            <p:ph type="ftr" sz="quarter" idx="18"/>
          </p:nvPr>
        </p:nvSpPr>
        <p:spPr>
          <a:xfrm>
            <a:off x="290474" y="6411643"/>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9EA471B4-B30A-F4D7-84E4-C54A4D1ACDB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4" name="Text Placeholder 10">
            <a:extLst>
              <a:ext uri="{FF2B5EF4-FFF2-40B4-BE49-F238E27FC236}">
                <a16:creationId xmlns:a16="http://schemas.microsoft.com/office/drawing/2014/main" id="{C5CEBFE7-AD2E-DFE8-B046-3B866828612E}"/>
              </a:ext>
            </a:extLst>
          </p:cNvPr>
          <p:cNvSpPr>
            <a:spLocks noGrp="1"/>
          </p:cNvSpPr>
          <p:nvPr>
            <p:ph type="body" sz="quarter" idx="11"/>
          </p:nvPr>
        </p:nvSpPr>
        <p:spPr>
          <a:xfrm>
            <a:off x="287999" y="3337941"/>
            <a:ext cx="2474590" cy="2759647"/>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0">
            <a:extLst>
              <a:ext uri="{FF2B5EF4-FFF2-40B4-BE49-F238E27FC236}">
                <a16:creationId xmlns:a16="http://schemas.microsoft.com/office/drawing/2014/main" id="{42695C8E-740F-09FE-EEF5-F2D3F3F88137}"/>
              </a:ext>
            </a:extLst>
          </p:cNvPr>
          <p:cNvSpPr>
            <a:spLocks noGrp="1"/>
          </p:cNvSpPr>
          <p:nvPr>
            <p:ph type="body" sz="quarter" idx="12"/>
          </p:nvPr>
        </p:nvSpPr>
        <p:spPr>
          <a:xfrm>
            <a:off x="3331187"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0">
            <a:extLst>
              <a:ext uri="{FF2B5EF4-FFF2-40B4-BE49-F238E27FC236}">
                <a16:creationId xmlns:a16="http://schemas.microsoft.com/office/drawing/2014/main" id="{59937119-9484-C422-CDBB-7ACF8FB463EA}"/>
              </a:ext>
            </a:extLst>
          </p:cNvPr>
          <p:cNvSpPr>
            <a:spLocks noGrp="1"/>
          </p:cNvSpPr>
          <p:nvPr>
            <p:ph type="body" sz="quarter" idx="13"/>
          </p:nvPr>
        </p:nvSpPr>
        <p:spPr>
          <a:xfrm>
            <a:off x="6383049"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031FDB97-22F2-B958-137D-E25328D2B01D}"/>
              </a:ext>
            </a:extLst>
          </p:cNvPr>
          <p:cNvSpPr>
            <a:spLocks noGrp="1"/>
          </p:cNvSpPr>
          <p:nvPr>
            <p:ph type="body" sz="quarter" idx="14"/>
          </p:nvPr>
        </p:nvSpPr>
        <p:spPr>
          <a:xfrm>
            <a:off x="9428523" y="3336926"/>
            <a:ext cx="2474590" cy="2760662"/>
          </a:xfrm>
        </p:spPr>
        <p:txBody>
          <a:bodyPr/>
          <a:lstStyle>
            <a:lvl1pPr>
              <a:spcBef>
                <a:spcPts val="0"/>
              </a:spcBef>
              <a:defRPr sz="1800">
                <a:solidFill>
                  <a:schemeClr val="tx1"/>
                </a:solidFill>
              </a:defRPr>
            </a:lvl1pPr>
            <a:lvl2pPr marL="163767" indent="-163767">
              <a:spcBef>
                <a:spcPts val="0"/>
              </a:spcBef>
              <a:defRPr sz="1800">
                <a:solidFill>
                  <a:schemeClr val="tx1"/>
                </a:solidFill>
              </a:defRPr>
            </a:lvl2pPr>
            <a:lvl3pPr marL="329334" indent="-163767">
              <a:spcBef>
                <a:spcPts val="0"/>
              </a:spcBef>
              <a:defRPr sz="1800">
                <a:solidFill>
                  <a:schemeClr val="tx1"/>
                </a:solidFill>
              </a:defRPr>
            </a:lvl3pPr>
            <a:lvl4pPr marL="493101" indent="-163767">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68201744"/>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1997964"/>
          </a:xfrm>
        </p:spPr>
        <p:txBody>
          <a:bodyPr/>
          <a:lstStyle>
            <a:lvl1pPr>
              <a:lnSpc>
                <a:spcPct val="100000"/>
              </a:lnSpc>
              <a:defRPr sz="3399">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774" y="288036"/>
            <a:ext cx="2477701" cy="2478024"/>
          </a:xfrm>
        </p:spPr>
        <p:txBody>
          <a:bodyPr/>
          <a:lstStyle>
            <a:lvl1pPr>
              <a:lnSpc>
                <a:spcPct val="110000"/>
              </a:lnSpc>
              <a:spcBef>
                <a:spcPts val="0"/>
              </a:spcBef>
              <a:defRPr sz="1800" b="0" i="0">
                <a:solidFill>
                  <a:schemeClr val="tx1"/>
                </a:solidFill>
                <a:latin typeface="IBM Plex Sans Light"/>
              </a:defRPr>
            </a:lvl1pPr>
            <a:lvl2pPr marL="163767" indent="-163767">
              <a:lnSpc>
                <a:spcPct val="100000"/>
              </a:lnSpc>
              <a:spcBef>
                <a:spcPts val="0"/>
              </a:spcBef>
              <a:defRPr sz="1800" b="0" i="0">
                <a:solidFill>
                  <a:schemeClr val="tx1"/>
                </a:solidFill>
                <a:latin typeface="IBM Plex Sans Light"/>
              </a:defRPr>
            </a:lvl2pPr>
            <a:lvl3pPr marL="329334" indent="-163767">
              <a:lnSpc>
                <a:spcPct val="100000"/>
              </a:lnSpc>
              <a:spcBef>
                <a:spcPts val="0"/>
              </a:spcBef>
              <a:defRPr sz="1800" b="0" i="0">
                <a:solidFill>
                  <a:schemeClr val="tx1"/>
                </a:solidFill>
                <a:latin typeface="IBM Plex Sans Light"/>
              </a:defRPr>
            </a:lvl3pPr>
            <a:lvl4pPr marL="493101" indent="-163767">
              <a:lnSpc>
                <a:spcPct val="100000"/>
              </a:lnSpc>
              <a:spcBef>
                <a:spcPts val="0"/>
              </a:spcBef>
              <a:defRPr sz="1800" b="0" i="0">
                <a:solidFill>
                  <a:schemeClr val="tx1"/>
                </a:solidFill>
                <a:latin typeface="IBM Plex Sans Light"/>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7701" cy="2478024"/>
          </a:xfrm>
        </p:spPr>
        <p:txBody>
          <a:bodyPr/>
          <a:lstStyle>
            <a:lvl1pPr>
              <a:lnSpc>
                <a:spcPct val="110000"/>
              </a:lnSpc>
              <a:spcBef>
                <a:spcPts val="0"/>
              </a:spcBef>
              <a:defRPr sz="1800" b="0" i="0">
                <a:solidFill>
                  <a:schemeClr val="tx1"/>
                </a:solidFill>
                <a:latin typeface="IBM Plex Sans Light"/>
              </a:defRPr>
            </a:lvl1pPr>
            <a:lvl2pPr marL="127990" indent="-127990">
              <a:lnSpc>
                <a:spcPct val="110000"/>
              </a:lnSpc>
              <a:spcBef>
                <a:spcPts val="0"/>
              </a:spcBef>
              <a:defRPr sz="1800" b="0" i="0">
                <a:solidFill>
                  <a:schemeClr val="tx1"/>
                </a:solidFill>
                <a:latin typeface="IBM Plex Sans Light"/>
              </a:defRPr>
            </a:lvl2pPr>
            <a:lvl3pPr marL="255981" indent="-127990">
              <a:lnSpc>
                <a:spcPct val="110000"/>
              </a:lnSpc>
              <a:spcBef>
                <a:spcPts val="0"/>
              </a:spcBef>
              <a:defRPr sz="1800" b="0" i="0">
                <a:solidFill>
                  <a:schemeClr val="tx1"/>
                </a:solidFill>
                <a:latin typeface="IBM Plex Sans Light"/>
              </a:defRPr>
            </a:lvl3pPr>
            <a:lvl4pPr marL="383971" indent="-127990">
              <a:lnSpc>
                <a:spcPct val="110000"/>
              </a:lnSpc>
              <a:spcBef>
                <a:spcPts val="0"/>
              </a:spcBef>
              <a:defRPr sz="1800" b="0" i="0">
                <a:solidFill>
                  <a:schemeClr val="tx1"/>
                </a:solidFill>
                <a:latin typeface="IBM Plex Sans Light"/>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3130" cy="2478024"/>
          </a:xfrm>
        </p:spPr>
        <p:txBody>
          <a:bodyPr/>
          <a:lstStyle>
            <a:lvl1pPr>
              <a:lnSpc>
                <a:spcPct val="110000"/>
              </a:lnSpc>
              <a:spcBef>
                <a:spcPts val="0"/>
              </a:spcBef>
              <a:defRPr sz="1800" b="0" i="0">
                <a:solidFill>
                  <a:schemeClr val="tx1"/>
                </a:solidFill>
                <a:latin typeface="IBM Plex Sans Light"/>
              </a:defRPr>
            </a:lvl1pPr>
            <a:lvl2pPr marL="127990" indent="-127990">
              <a:lnSpc>
                <a:spcPct val="110000"/>
              </a:lnSpc>
              <a:spcBef>
                <a:spcPts val="0"/>
              </a:spcBef>
              <a:defRPr sz="1800" b="0" i="0">
                <a:solidFill>
                  <a:schemeClr val="tx1"/>
                </a:solidFill>
                <a:latin typeface="IBM Plex Sans Light"/>
              </a:defRPr>
            </a:lvl2pPr>
            <a:lvl3pPr marL="255981" indent="-127990">
              <a:lnSpc>
                <a:spcPct val="110000"/>
              </a:lnSpc>
              <a:spcBef>
                <a:spcPts val="0"/>
              </a:spcBef>
              <a:defRPr sz="1800" b="0" i="0">
                <a:solidFill>
                  <a:schemeClr val="tx1"/>
                </a:solidFill>
                <a:latin typeface="IBM Plex Sans Light"/>
              </a:defRPr>
            </a:lvl3pPr>
            <a:lvl4pPr marL="383971" indent="-127990">
              <a:lnSpc>
                <a:spcPct val="110000"/>
              </a:lnSpc>
              <a:spcBef>
                <a:spcPts val="0"/>
              </a:spcBef>
              <a:defRPr sz="1800" b="0" i="0">
                <a:solidFill>
                  <a:schemeClr val="tx1"/>
                </a:solidFill>
                <a:latin typeface="IBM Plex Sans Light"/>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06DFE032-E717-840D-774E-AC6218CA01A8}"/>
              </a:ext>
            </a:extLst>
          </p:cNvPr>
          <p:cNvSpPr>
            <a:spLocks noGrp="1"/>
          </p:cNvSpPr>
          <p:nvPr>
            <p:ph type="ftr" sz="quarter" idx="22"/>
          </p:nvPr>
        </p:nvSpPr>
        <p:spPr>
          <a:xfrm>
            <a:off x="290474" y="6411643"/>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219EFD5E-874A-DCAB-55D5-D376C79F2C6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6" name="Text Placeholder 10">
            <a:extLst>
              <a:ext uri="{FF2B5EF4-FFF2-40B4-BE49-F238E27FC236}">
                <a16:creationId xmlns:a16="http://schemas.microsoft.com/office/drawing/2014/main" id="{0813F20A-BEE4-B8A6-B7C6-A452A39FAD7F}"/>
              </a:ext>
            </a:extLst>
          </p:cNvPr>
          <p:cNvSpPr>
            <a:spLocks noGrp="1"/>
          </p:cNvSpPr>
          <p:nvPr>
            <p:ph type="body" sz="quarter" idx="12"/>
          </p:nvPr>
        </p:nvSpPr>
        <p:spPr>
          <a:xfrm>
            <a:off x="3332774" y="3336925"/>
            <a:ext cx="2477701" cy="2478024"/>
          </a:xfrm>
        </p:spPr>
        <p:txBody>
          <a:bodyPr/>
          <a:lstStyle>
            <a:lvl1pPr>
              <a:spcBef>
                <a:spcPts val="0"/>
              </a:spcBef>
              <a:defRPr sz="1800">
                <a:solidFill>
                  <a:schemeClr val="tx1"/>
                </a:solidFill>
                <a:latin typeface="IBM Plex Sans Light"/>
              </a:defRPr>
            </a:lvl1pPr>
            <a:lvl2pPr marL="127990" indent="-127990">
              <a:spcBef>
                <a:spcPts val="0"/>
              </a:spcBef>
              <a:defRPr sz="1800">
                <a:solidFill>
                  <a:schemeClr val="tx1"/>
                </a:solidFill>
                <a:latin typeface="IBM Plex Sans Light"/>
              </a:defRPr>
            </a:lvl2pPr>
            <a:lvl3pPr marL="255981" indent="-127990">
              <a:spcBef>
                <a:spcPts val="0"/>
              </a:spcBef>
              <a:defRPr sz="1800">
                <a:solidFill>
                  <a:schemeClr val="tx1"/>
                </a:solidFill>
                <a:latin typeface="IBM Plex Sans Light"/>
              </a:defRPr>
            </a:lvl3pPr>
            <a:lvl4pPr marL="383971" indent="-127990">
              <a:spcBef>
                <a:spcPts val="0"/>
              </a:spcBef>
              <a:defRPr sz="1800">
                <a:solidFill>
                  <a:schemeClr val="tx1"/>
                </a:solidFill>
                <a:latin typeface="IBM Plex Sans Light"/>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8" name="Text Placeholder 10">
            <a:extLst>
              <a:ext uri="{FF2B5EF4-FFF2-40B4-BE49-F238E27FC236}">
                <a16:creationId xmlns:a16="http://schemas.microsoft.com/office/drawing/2014/main" id="{150973AC-ED14-F5BF-FFA2-3AA73BE9F47C}"/>
              </a:ext>
            </a:extLst>
          </p:cNvPr>
          <p:cNvSpPr>
            <a:spLocks noGrp="1"/>
          </p:cNvSpPr>
          <p:nvPr>
            <p:ph type="body" sz="quarter" idx="13"/>
          </p:nvPr>
        </p:nvSpPr>
        <p:spPr>
          <a:xfrm>
            <a:off x="6380919" y="3336925"/>
            <a:ext cx="2477701" cy="2478024"/>
          </a:xfrm>
        </p:spPr>
        <p:txBody>
          <a:bodyPr/>
          <a:lstStyle>
            <a:lvl1pPr>
              <a:spcBef>
                <a:spcPts val="0"/>
              </a:spcBef>
              <a:defRPr sz="1800">
                <a:solidFill>
                  <a:schemeClr val="tx1"/>
                </a:solidFill>
                <a:latin typeface="IBM Plex Sans Light"/>
              </a:defRPr>
            </a:lvl1pPr>
            <a:lvl2pPr marL="127990" indent="-127990">
              <a:spcBef>
                <a:spcPts val="0"/>
              </a:spcBef>
              <a:defRPr sz="1800">
                <a:solidFill>
                  <a:schemeClr val="tx1"/>
                </a:solidFill>
                <a:latin typeface="IBM Plex Sans Light"/>
              </a:defRPr>
            </a:lvl2pPr>
            <a:lvl3pPr marL="255981" indent="-127990">
              <a:spcBef>
                <a:spcPts val="0"/>
              </a:spcBef>
              <a:defRPr sz="1800">
                <a:solidFill>
                  <a:schemeClr val="tx1"/>
                </a:solidFill>
                <a:latin typeface="IBM Plex Sans Light"/>
              </a:defRPr>
            </a:lvl3pPr>
            <a:lvl4pPr marL="383971" indent="-127990">
              <a:spcBef>
                <a:spcPts val="0"/>
              </a:spcBef>
              <a:defRPr sz="1800">
                <a:solidFill>
                  <a:schemeClr val="tx1"/>
                </a:solidFill>
                <a:latin typeface="IBM Plex Sans Light"/>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9" name="Text Placeholder 10">
            <a:extLst>
              <a:ext uri="{FF2B5EF4-FFF2-40B4-BE49-F238E27FC236}">
                <a16:creationId xmlns:a16="http://schemas.microsoft.com/office/drawing/2014/main" id="{BE127C12-10BF-D35C-4112-2B9F89481529}"/>
              </a:ext>
            </a:extLst>
          </p:cNvPr>
          <p:cNvSpPr>
            <a:spLocks noGrp="1"/>
          </p:cNvSpPr>
          <p:nvPr>
            <p:ph type="body" sz="quarter" idx="14"/>
          </p:nvPr>
        </p:nvSpPr>
        <p:spPr>
          <a:xfrm>
            <a:off x="9428522" y="3336925"/>
            <a:ext cx="2473130" cy="2478024"/>
          </a:xfrm>
        </p:spPr>
        <p:txBody>
          <a:bodyPr/>
          <a:lstStyle>
            <a:lvl1pPr>
              <a:spcBef>
                <a:spcPts val="0"/>
              </a:spcBef>
              <a:defRPr sz="1800">
                <a:solidFill>
                  <a:schemeClr val="tx1"/>
                </a:solidFill>
                <a:latin typeface="IBM Plex Sans Light"/>
              </a:defRPr>
            </a:lvl1pPr>
            <a:lvl2pPr marL="127990" indent="-127990">
              <a:spcBef>
                <a:spcPts val="0"/>
              </a:spcBef>
              <a:defRPr sz="1800">
                <a:solidFill>
                  <a:schemeClr val="tx1"/>
                </a:solidFill>
                <a:latin typeface="IBM Plex Sans Light"/>
              </a:defRPr>
            </a:lvl2pPr>
            <a:lvl3pPr marL="255981" indent="-127990">
              <a:spcBef>
                <a:spcPts val="0"/>
              </a:spcBef>
              <a:defRPr sz="1800">
                <a:solidFill>
                  <a:schemeClr val="tx1"/>
                </a:solidFill>
                <a:latin typeface="IBM Plex Sans Light"/>
              </a:defRPr>
            </a:lvl3pPr>
            <a:lvl4pPr marL="383971" indent="-127990">
              <a:spcBef>
                <a:spcPts val="0"/>
              </a:spcBef>
              <a:defRPr sz="1800">
                <a:solidFill>
                  <a:schemeClr val="tx1"/>
                </a:solidFill>
                <a:latin typeface="IBM Plex Sans Light"/>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Tree>
    <p:extLst>
      <p:ext uri="{BB962C8B-B14F-4D97-AF65-F5344CB8AC3E}">
        <p14:creationId xmlns:p14="http://schemas.microsoft.com/office/powerpoint/2010/main" val="248448720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63" y="288036"/>
            <a:ext cx="2474590" cy="1997964"/>
          </a:xfrm>
        </p:spPr>
        <p:txBody>
          <a:bodyPr/>
          <a:lstStyle>
            <a:lvl1pPr>
              <a:lnSpc>
                <a:spcPct val="100000"/>
              </a:lnSpc>
              <a:defRPr sz="3399">
                <a:solidFill>
                  <a:schemeClr val="tx2"/>
                </a:solidFill>
              </a:defRPr>
            </a:lvl1pPr>
          </a:lstStyle>
          <a:p>
            <a:r>
              <a:rPr lang="en-US"/>
              <a:t>Click to edit Master title style</a:t>
            </a:r>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200927" y="599944"/>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200927" y="1073908"/>
            <a:ext cx="2477701" cy="1999551"/>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256779" y="599944"/>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256779" y="1073908"/>
            <a:ext cx="2476178" cy="1999551"/>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296134" y="599944"/>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296134" y="1073908"/>
            <a:ext cx="2473130" cy="1999550"/>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2915214" y="3359908"/>
            <a:ext cx="906723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200927" y="3659223"/>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200927" y="4123705"/>
            <a:ext cx="2477701" cy="1999148"/>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256779" y="3659223"/>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256779" y="4123705"/>
            <a:ext cx="2477701" cy="1999146"/>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296134" y="3659223"/>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296134" y="4123705"/>
            <a:ext cx="2473130" cy="1999144"/>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287963" y="6408000"/>
            <a:ext cx="2477765" cy="190500"/>
          </a:xfrm>
          <a:prstGeom prst="rect">
            <a:avLst/>
          </a:prstGeom>
        </p:spPr>
        <p:txBody>
          <a:bodyPr/>
          <a:lstStyle/>
          <a:p>
            <a:r>
              <a:rPr lang="en-US"/>
              <a:t>© 2025 cloudflight / IBM Corporation </a:t>
            </a:r>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2915214" y="733425"/>
            <a:ext cx="0" cy="549592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5962881" y="733425"/>
            <a:ext cx="0" cy="549592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9010421" y="733425"/>
            <a:ext cx="0" cy="549592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52961516"/>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63" y="288036"/>
            <a:ext cx="2474590" cy="1997964"/>
          </a:xfrm>
        </p:spPr>
        <p:txBody>
          <a:bodyPr/>
          <a:lstStyle>
            <a:lvl1pPr>
              <a:lnSpc>
                <a:spcPct val="100000"/>
              </a:lnSpc>
              <a:defRPr sz="3399">
                <a:solidFill>
                  <a:schemeClr val="tx2"/>
                </a:solidFill>
              </a:defRPr>
            </a:lvl1pPr>
          </a:lstStyle>
          <a:p>
            <a:r>
              <a:rPr lang="en-US"/>
              <a:t>Click to edit Master title style</a:t>
            </a:r>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762000"/>
            <a:ext cx="2477701" cy="1999551"/>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9168"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9168" y="762000"/>
            <a:ext cx="2476178" cy="1999551"/>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762000"/>
            <a:ext cx="2473130" cy="1999550"/>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811797"/>
            <a:ext cx="2477701" cy="1999148"/>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9168"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9168" y="3811797"/>
            <a:ext cx="2477701" cy="1999146"/>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811797"/>
            <a:ext cx="2473130" cy="1999144"/>
          </a:xfrm>
        </p:spPr>
        <p:txBody>
          <a:bodyPr/>
          <a:lstStyle>
            <a:lvl1pPr>
              <a:lnSpc>
                <a:spcPct val="110000"/>
              </a:lnSpc>
              <a:spcBef>
                <a:spcPts val="0"/>
              </a:spcBef>
              <a:defRPr sz="1800">
                <a:solidFill>
                  <a:schemeClr val="tx1"/>
                </a:solidFill>
              </a:defRPr>
            </a:lvl1pPr>
            <a:lvl2pPr marL="109706" indent="-109706">
              <a:lnSpc>
                <a:spcPct val="110000"/>
              </a:lnSpc>
              <a:spcBef>
                <a:spcPts val="0"/>
              </a:spcBef>
              <a:defRPr sz="1800">
                <a:solidFill>
                  <a:schemeClr val="tx1"/>
                </a:solidFill>
              </a:defRPr>
            </a:lvl2pPr>
            <a:lvl3pPr marL="219412" indent="-109706">
              <a:lnSpc>
                <a:spcPct val="110000"/>
              </a:lnSpc>
              <a:spcBef>
                <a:spcPts val="0"/>
              </a:spcBef>
              <a:defRPr sz="1800">
                <a:solidFill>
                  <a:schemeClr val="tx1"/>
                </a:solidFill>
              </a:defRPr>
            </a:lvl3pPr>
            <a:lvl4pPr marL="329118" indent="-109706">
              <a:lnSpc>
                <a:spcPct val="110000"/>
              </a:lnSpc>
              <a:spcBef>
                <a:spcPts val="0"/>
              </a:spcBef>
              <a:defRPr sz="18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287963" y="6408000"/>
            <a:ext cx="2477765" cy="190500"/>
          </a:xfrm>
          <a:prstGeom prst="rect">
            <a:avLst/>
          </a:prstGeom>
        </p:spPr>
        <p:txBody>
          <a:bodyPr/>
          <a:lstStyle/>
          <a:p>
            <a:r>
              <a:rPr lang="en-US"/>
              <a:t>© 2025 cloudflight / IBM Corporation </a:t>
            </a:r>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3047603"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9142810" y="285052"/>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30810112"/>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288000"/>
            <a:ext cx="5519019" cy="1706563"/>
          </a:xfrm>
        </p:spPr>
        <p:txBody>
          <a:bodyPr rIns="457200"/>
          <a:lstStyle>
            <a:lvl1pPr>
              <a:lnSpc>
                <a:spcPct val="100000"/>
              </a:lnSpc>
              <a:defRPr sz="3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8" y="288036"/>
            <a:ext cx="2476178" cy="2477294"/>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9142810"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userDrawn="1">
            <p:ph type="body" sz="quarter" idx="13"/>
          </p:nvPr>
        </p:nvSpPr>
        <p:spPr>
          <a:xfrm>
            <a:off x="9428972" y="288036"/>
            <a:ext cx="2476178" cy="2477294"/>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3049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A5B6E0FE-2F6F-9D77-9834-2DF9E13E2262}"/>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10">
            <a:extLst>
              <a:ext uri="{FF2B5EF4-FFF2-40B4-BE49-F238E27FC236}">
                <a16:creationId xmlns:a16="http://schemas.microsoft.com/office/drawing/2014/main" id="{022E65FD-CDEF-1AA2-2521-5B200BF4B6BD}"/>
              </a:ext>
            </a:extLst>
          </p:cNvPr>
          <p:cNvSpPr>
            <a:spLocks noGrp="1"/>
          </p:cNvSpPr>
          <p:nvPr>
            <p:ph type="body" sz="quarter" idx="11"/>
          </p:nvPr>
        </p:nvSpPr>
        <p:spPr>
          <a:xfrm>
            <a:off x="287999" y="3337941"/>
            <a:ext cx="2474590" cy="2759647"/>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0" name="Text Placeholder 10">
            <a:extLst>
              <a:ext uri="{FF2B5EF4-FFF2-40B4-BE49-F238E27FC236}">
                <a16:creationId xmlns:a16="http://schemas.microsoft.com/office/drawing/2014/main" id="{83C43A7A-FFA5-D00F-7BEB-AA5C5DA6FB8E}"/>
              </a:ext>
            </a:extLst>
          </p:cNvPr>
          <p:cNvSpPr>
            <a:spLocks noGrp="1"/>
          </p:cNvSpPr>
          <p:nvPr>
            <p:ph type="body" sz="quarter" idx="19"/>
          </p:nvPr>
        </p:nvSpPr>
        <p:spPr>
          <a:xfrm>
            <a:off x="3333166"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1" name="Text Placeholder 10">
            <a:extLst>
              <a:ext uri="{FF2B5EF4-FFF2-40B4-BE49-F238E27FC236}">
                <a16:creationId xmlns:a16="http://schemas.microsoft.com/office/drawing/2014/main" id="{6558C27E-CF79-F761-3827-DA392178DC8E}"/>
              </a:ext>
            </a:extLst>
          </p:cNvPr>
          <p:cNvSpPr>
            <a:spLocks noGrp="1"/>
          </p:cNvSpPr>
          <p:nvPr>
            <p:ph type="body" sz="quarter" idx="20"/>
          </p:nvPr>
        </p:nvSpPr>
        <p:spPr>
          <a:xfrm>
            <a:off x="6389168"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2" name="Text Placeholder 10">
            <a:extLst>
              <a:ext uri="{FF2B5EF4-FFF2-40B4-BE49-F238E27FC236}">
                <a16:creationId xmlns:a16="http://schemas.microsoft.com/office/drawing/2014/main" id="{C0BF9C6F-22AC-2FF0-D8C9-37373CDEB3A5}"/>
              </a:ext>
            </a:extLst>
          </p:cNvPr>
          <p:cNvSpPr>
            <a:spLocks noGrp="1"/>
          </p:cNvSpPr>
          <p:nvPr>
            <p:ph type="body" sz="quarter" idx="14"/>
          </p:nvPr>
        </p:nvSpPr>
        <p:spPr>
          <a:xfrm>
            <a:off x="9428523"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Tree>
    <p:extLst>
      <p:ext uri="{BB962C8B-B14F-4D97-AF65-F5344CB8AC3E}">
        <p14:creationId xmlns:p14="http://schemas.microsoft.com/office/powerpoint/2010/main" val="123481143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288036"/>
            <a:ext cx="2474590" cy="1706563"/>
          </a:xfrm>
        </p:spPr>
        <p:txBody>
          <a:bodyPr rIns="0"/>
          <a:lstStyle>
            <a:lvl1pPr>
              <a:lnSpc>
                <a:spcPct val="100000"/>
              </a:lnSpc>
              <a:defRPr sz="21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8" y="288036"/>
            <a:ext cx="2476178" cy="2477294"/>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28972" y="288036"/>
            <a:ext cx="2476178" cy="2477294"/>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7C192388-DAC3-247F-4457-03A65F8CDF36}"/>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72D75691-23B7-FADC-4357-CB3662EB377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CB17488F-3B5A-CD3F-8D89-787477C1F946}"/>
              </a:ext>
              <a:ext uri="{C183D7F6-B498-43B3-948B-1728B52AA6E4}">
                <adec:decorative xmlns:adec="http://schemas.microsoft.com/office/drawing/2017/decorative" val="0"/>
              </a:ext>
            </a:extLst>
          </p:cNvPr>
          <p:cNvCxnSpPr>
            <a:cxnSpLocks/>
          </p:cNvCxnSpPr>
          <p:nvPr userDrawn="1"/>
        </p:nvCxnSpPr>
        <p:spPr bwMode="auto">
          <a:xfrm>
            <a:off x="9142810"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Horizontal row divider">
            <a:extLst>
              <a:ext uri="{FF2B5EF4-FFF2-40B4-BE49-F238E27FC236}">
                <a16:creationId xmlns:a16="http://schemas.microsoft.com/office/drawing/2014/main" id="{7B2108DD-FE3A-F98C-D857-CDFA3DAD9666}"/>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03D0E68D-02AF-474A-3224-FF5108D23382}"/>
              </a:ext>
              <a:ext uri="{C183D7F6-B498-43B3-948B-1728B52AA6E4}">
                <adec:decorative xmlns:adec="http://schemas.microsoft.com/office/drawing/2017/decorative" val="0"/>
              </a:ext>
            </a:extLst>
          </p:cNvPr>
          <p:cNvCxnSpPr>
            <a:cxnSpLocks/>
          </p:cNvCxnSpPr>
          <p:nvPr userDrawn="1"/>
        </p:nvCxnSpPr>
        <p:spPr bwMode="auto">
          <a:xfrm>
            <a:off x="3047603" y="3041650"/>
            <a:ext cx="0" cy="30559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5600EFDE-928F-B419-8585-5582A68373F2}"/>
              </a:ext>
            </a:extLst>
          </p:cNvPr>
          <p:cNvCxnSpPr>
            <a:cxnSpLocks/>
          </p:cNvCxnSpPr>
          <p:nvPr userDrawn="1"/>
        </p:nvCxnSpPr>
        <p:spPr bwMode="auto">
          <a:xfrm>
            <a:off x="6095270" y="285052"/>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0">
            <a:extLst>
              <a:ext uri="{FF2B5EF4-FFF2-40B4-BE49-F238E27FC236}">
                <a16:creationId xmlns:a16="http://schemas.microsoft.com/office/drawing/2014/main" id="{5C1B1885-0510-1907-4EAD-DB9018C133E5}"/>
              </a:ext>
            </a:extLst>
          </p:cNvPr>
          <p:cNvSpPr>
            <a:spLocks noGrp="1"/>
          </p:cNvSpPr>
          <p:nvPr>
            <p:ph type="body" sz="quarter" idx="11"/>
          </p:nvPr>
        </p:nvSpPr>
        <p:spPr>
          <a:xfrm>
            <a:off x="287999" y="3337941"/>
            <a:ext cx="2474590" cy="2759647"/>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7" name="Text Placeholder 10">
            <a:extLst>
              <a:ext uri="{FF2B5EF4-FFF2-40B4-BE49-F238E27FC236}">
                <a16:creationId xmlns:a16="http://schemas.microsoft.com/office/drawing/2014/main" id="{5804D2DB-0651-E704-D761-49FB6352B7C3}"/>
              </a:ext>
            </a:extLst>
          </p:cNvPr>
          <p:cNvSpPr>
            <a:spLocks noGrp="1"/>
          </p:cNvSpPr>
          <p:nvPr>
            <p:ph type="body" sz="quarter" idx="19"/>
          </p:nvPr>
        </p:nvSpPr>
        <p:spPr>
          <a:xfrm>
            <a:off x="3331187"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8" name="Text Placeholder 10">
            <a:extLst>
              <a:ext uri="{FF2B5EF4-FFF2-40B4-BE49-F238E27FC236}">
                <a16:creationId xmlns:a16="http://schemas.microsoft.com/office/drawing/2014/main" id="{9900EBA3-CCC2-CE83-A620-B68ADAF8371C}"/>
              </a:ext>
            </a:extLst>
          </p:cNvPr>
          <p:cNvSpPr>
            <a:spLocks noGrp="1"/>
          </p:cNvSpPr>
          <p:nvPr>
            <p:ph type="body" sz="quarter" idx="20"/>
          </p:nvPr>
        </p:nvSpPr>
        <p:spPr>
          <a:xfrm>
            <a:off x="6389168"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9" name="Text Placeholder 10">
            <a:extLst>
              <a:ext uri="{FF2B5EF4-FFF2-40B4-BE49-F238E27FC236}">
                <a16:creationId xmlns:a16="http://schemas.microsoft.com/office/drawing/2014/main" id="{FAB4091C-FF62-7BAF-B996-F22392D5E709}"/>
              </a:ext>
            </a:extLst>
          </p:cNvPr>
          <p:cNvSpPr>
            <a:spLocks noGrp="1"/>
          </p:cNvSpPr>
          <p:nvPr>
            <p:ph type="body" sz="quarter" idx="14"/>
          </p:nvPr>
        </p:nvSpPr>
        <p:spPr>
          <a:xfrm>
            <a:off x="9428523" y="3336926"/>
            <a:ext cx="2474590" cy="2760662"/>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Tree>
    <p:extLst>
      <p:ext uri="{BB962C8B-B14F-4D97-AF65-F5344CB8AC3E}">
        <p14:creationId xmlns:p14="http://schemas.microsoft.com/office/powerpoint/2010/main" val="191222679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2" y="1520825"/>
            <a:ext cx="2473130" cy="4576763"/>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4904" y="1520825"/>
            <a:ext cx="2475384" cy="4576763"/>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8037"/>
            <a:ext cx="5519908" cy="6285801"/>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765F8DDE-78BD-E2B6-1CAB-2A9EF14E9F7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Tree>
    <p:extLst>
      <p:ext uri="{BB962C8B-B14F-4D97-AF65-F5344CB8AC3E}">
        <p14:creationId xmlns:p14="http://schemas.microsoft.com/office/powerpoint/2010/main" val="1752875178"/>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3EB3054-B75A-4BD7-8B3E-8DC0F614FAF3}" type="datetimeFigureOut">
              <a:rPr lang="de-DE" smtClean="0"/>
              <a:t>26.11.2025</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0240840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63" y="1520825"/>
            <a:ext cx="2477765" cy="4576763"/>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5" name="Footer Placeholder 3">
            <a:extLst>
              <a:ext uri="{FF2B5EF4-FFF2-40B4-BE49-F238E27FC236}">
                <a16:creationId xmlns:a16="http://schemas.microsoft.com/office/drawing/2014/main" id="{7B09C899-A6D4-3826-EAB8-A75F78607CE3}"/>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BEB46264-65A0-272C-CC19-DCA9B586608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41529632"/>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3" y="1520825"/>
            <a:ext cx="2477765" cy="4576763"/>
          </a:xfrm>
        </p:spPr>
        <p:txBody>
          <a:bodyPr/>
          <a:lstStyle>
            <a:lvl1pPr>
              <a:lnSpc>
                <a:spcPct val="110000"/>
              </a:lnSpc>
              <a:spcBef>
                <a:spcPts val="0"/>
              </a:spcBef>
              <a:defRPr sz="1800">
                <a:solidFill>
                  <a:schemeClr val="tx1"/>
                </a:solidFill>
              </a:defRPr>
            </a:lvl1pPr>
            <a:lvl2pPr marL="163767" indent="-163767">
              <a:lnSpc>
                <a:spcPct val="100000"/>
              </a:lnSpc>
              <a:spcBef>
                <a:spcPts val="0"/>
              </a:spcBef>
              <a:defRPr sz="1800">
                <a:solidFill>
                  <a:schemeClr val="tx1"/>
                </a:solidFill>
              </a:defRPr>
            </a:lvl2pPr>
            <a:lvl3pPr marL="329334" indent="-163767">
              <a:lnSpc>
                <a:spcPct val="100000"/>
              </a:lnSpc>
              <a:spcBef>
                <a:spcPts val="0"/>
              </a:spcBef>
              <a:defRPr sz="1800">
                <a:solidFill>
                  <a:schemeClr val="tx1"/>
                </a:solidFill>
              </a:defRPr>
            </a:lvl3pPr>
            <a:lvl4pPr marL="493101" indent="-163767">
              <a:lnSpc>
                <a:spcPct val="10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5750"/>
            <a:ext cx="8567416" cy="6289675"/>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547D5110-D587-CC11-18F6-FEB7AA2D785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Tree>
    <p:extLst>
      <p:ext uri="{BB962C8B-B14F-4D97-AF65-F5344CB8AC3E}">
        <p14:creationId xmlns:p14="http://schemas.microsoft.com/office/powerpoint/2010/main" val="1913868587"/>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2" name="Slide Number">
            <a:extLst>
              <a:ext uri="{FF2B5EF4-FFF2-40B4-BE49-F238E27FC236}">
                <a16:creationId xmlns:a16="http://schemas.microsoft.com/office/drawing/2014/main" id="{8A69D316-0792-83BD-3912-71CDE3BB681F}"/>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12241319"/>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8887" y="285750"/>
            <a:ext cx="11611845"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259882360"/>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7" name="Picture Placeholder 7" descr="Place bio portrait here">
            <a:extLst>
              <a:ext uri="{FF2B5EF4-FFF2-40B4-BE49-F238E27FC236}">
                <a16:creationId xmlns:a16="http://schemas.microsoft.com/office/drawing/2014/main" id="{0B1677E6-5066-100D-29D6-CCAD04C21BCE}"/>
              </a:ext>
            </a:extLst>
          </p:cNvPr>
          <p:cNvSpPr>
            <a:spLocks noGrp="1"/>
          </p:cNvSpPr>
          <p:nvPr>
            <p:ph type="pic" sz="quarter" idx="28" hasCustomPrompt="1"/>
          </p:nvPr>
        </p:nvSpPr>
        <p:spPr>
          <a:xfrm>
            <a:off x="287962" y="1522413"/>
            <a:ext cx="123104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3" name="Picture Placeholder 7" descr="Place bio portrait here">
            <a:extLst>
              <a:ext uri="{FF2B5EF4-FFF2-40B4-BE49-F238E27FC236}">
                <a16:creationId xmlns:a16="http://schemas.microsoft.com/office/drawing/2014/main" id="{3DCE12BA-53E1-8B67-A029-029F1E6F9163}"/>
              </a:ext>
            </a:extLst>
          </p:cNvPr>
          <p:cNvSpPr>
            <a:spLocks noGrp="1"/>
          </p:cNvSpPr>
          <p:nvPr>
            <p:ph type="pic" sz="quarter" idx="30" hasCustomPrompt="1"/>
          </p:nvPr>
        </p:nvSpPr>
        <p:spPr>
          <a:xfrm>
            <a:off x="287962" y="3048000"/>
            <a:ext cx="123104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5" name="Picture Placeholder 7" descr="Place bio portrait here">
            <a:extLst>
              <a:ext uri="{FF2B5EF4-FFF2-40B4-BE49-F238E27FC236}">
                <a16:creationId xmlns:a16="http://schemas.microsoft.com/office/drawing/2014/main" id="{05E149CA-A25F-74EE-93DF-1A877CDE924F}"/>
              </a:ext>
            </a:extLst>
          </p:cNvPr>
          <p:cNvSpPr>
            <a:spLocks noGrp="1"/>
          </p:cNvSpPr>
          <p:nvPr>
            <p:ph type="pic" sz="quarter" idx="32" hasCustomPrompt="1"/>
          </p:nvPr>
        </p:nvSpPr>
        <p:spPr>
          <a:xfrm>
            <a:off x="287962" y="4570413"/>
            <a:ext cx="123104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5" name="Picture Placeholder 7" descr="Place bio portrait here">
            <a:extLst>
              <a:ext uri="{FF2B5EF4-FFF2-40B4-BE49-F238E27FC236}">
                <a16:creationId xmlns:a16="http://schemas.microsoft.com/office/drawing/2014/main" id="{AAC7C1AD-0F8C-4D02-0112-981444AFE98D}"/>
              </a:ext>
            </a:extLst>
          </p:cNvPr>
          <p:cNvSpPr>
            <a:spLocks noGrp="1"/>
          </p:cNvSpPr>
          <p:nvPr>
            <p:ph type="pic" sz="quarter" idx="34" hasCustomPrompt="1"/>
          </p:nvPr>
        </p:nvSpPr>
        <p:spPr>
          <a:xfrm>
            <a:off x="6389168" y="1522413"/>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7" name="Picture Placeholder 7" descr="Place bio portrait here">
            <a:extLst>
              <a:ext uri="{FF2B5EF4-FFF2-40B4-BE49-F238E27FC236}">
                <a16:creationId xmlns:a16="http://schemas.microsoft.com/office/drawing/2014/main" id="{22271FFB-E2D1-459B-4089-A291A1110AE8}"/>
              </a:ext>
            </a:extLst>
          </p:cNvPr>
          <p:cNvSpPr>
            <a:spLocks noGrp="1"/>
          </p:cNvSpPr>
          <p:nvPr>
            <p:ph type="pic" sz="quarter" idx="36" hasCustomPrompt="1"/>
          </p:nvPr>
        </p:nvSpPr>
        <p:spPr>
          <a:xfrm>
            <a:off x="6389168" y="3048000"/>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9" name="Picture Placeholder 7" descr="Place bio portrait here">
            <a:extLst>
              <a:ext uri="{FF2B5EF4-FFF2-40B4-BE49-F238E27FC236}">
                <a16:creationId xmlns:a16="http://schemas.microsoft.com/office/drawing/2014/main" id="{F3C99020-5BF1-8A8C-BDCB-42766A5B9BE5}"/>
              </a:ext>
            </a:extLst>
          </p:cNvPr>
          <p:cNvSpPr>
            <a:spLocks noGrp="1"/>
          </p:cNvSpPr>
          <p:nvPr>
            <p:ph type="pic" sz="quarter" idx="38" hasCustomPrompt="1"/>
          </p:nvPr>
        </p:nvSpPr>
        <p:spPr>
          <a:xfrm>
            <a:off x="6389168" y="4570413"/>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00000"/>
              </a:lnSpc>
              <a:defRPr sz="3399">
                <a:solidFill>
                  <a:schemeClr val="tx2"/>
                </a:solidFill>
              </a:defRPr>
            </a:lvl1pPr>
          </a:lstStyle>
          <a:p>
            <a:r>
              <a:rPr lang="en-US"/>
              <a:t>Click to edit Master title styl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522413"/>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48000"/>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a:p>
            <a:pPr lvl="3"/>
            <a:endParaRPr lang="en-US"/>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570413"/>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522413"/>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48000"/>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570413"/>
            <a:ext cx="2853953" cy="1238250"/>
          </a:xfrm>
        </p:spPr>
        <p:txBody>
          <a:bodyPr/>
          <a:lstStyle>
            <a:lvl1pPr>
              <a:lnSpc>
                <a:spcPct val="110000"/>
              </a:lnSpc>
              <a:spcBef>
                <a:spcPts val="0"/>
              </a:spcBef>
              <a:defRPr sz="1800">
                <a:solidFill>
                  <a:schemeClr val="tx1"/>
                </a:solidFill>
              </a:defRPr>
            </a:lvl1pPr>
            <a:lvl2pPr marL="127990" indent="-127990">
              <a:lnSpc>
                <a:spcPct val="110000"/>
              </a:lnSpc>
              <a:spcBef>
                <a:spcPts val="0"/>
              </a:spcBef>
              <a:defRPr sz="1800">
                <a:solidFill>
                  <a:schemeClr val="tx1"/>
                </a:solidFill>
              </a:defRPr>
            </a:lvl2pPr>
            <a:lvl3pPr marL="255981" indent="-127990">
              <a:lnSpc>
                <a:spcPct val="110000"/>
              </a:lnSpc>
              <a:spcBef>
                <a:spcPts val="0"/>
              </a:spcBef>
              <a:defRPr sz="1800">
                <a:solidFill>
                  <a:schemeClr val="tx1"/>
                </a:solidFill>
              </a:defRPr>
            </a:lvl3pPr>
            <a:lvl4pPr marL="383971" indent="-127990">
              <a:lnSpc>
                <a:spcPct val="110000"/>
              </a:lnSpc>
              <a:spcBef>
                <a:spcPts val="0"/>
              </a:spcBef>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p:txBody>
      </p:sp>
      <p:sp>
        <p:nvSpPr>
          <p:cNvPr id="3" name="Footer Placeholder 3">
            <a:extLst>
              <a:ext uri="{FF2B5EF4-FFF2-40B4-BE49-F238E27FC236}">
                <a16:creationId xmlns:a16="http://schemas.microsoft.com/office/drawing/2014/main" id="{7D4D4C25-96EE-FF6D-B301-962CD7A63666}"/>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6" name="Slide Number">
            <a:extLst>
              <a:ext uri="{FF2B5EF4-FFF2-40B4-BE49-F238E27FC236}">
                <a16:creationId xmlns:a16="http://schemas.microsoft.com/office/drawing/2014/main" id="{DA0E5B0D-36A0-4281-7D57-C2CC4453113C}"/>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2251784"/>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7"/>
            <a:ext cx="2474590" cy="1997964"/>
          </a:xfrm>
        </p:spPr>
        <p:txBody>
          <a:bodyPr/>
          <a:lstStyle>
            <a:lvl1pPr>
              <a:lnSpc>
                <a:spcPct val="100000"/>
              </a:lnSpc>
              <a:defRPr sz="3399">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8000"/>
            <a:ext cx="8571384" cy="5811838"/>
          </a:xfrm>
        </p:spPr>
        <p:txBody>
          <a:bodyPr anchor="ctr"/>
          <a:lstStyle>
            <a:lvl1pPr algn="ctr">
              <a:defRPr>
                <a:solidFill>
                  <a:schemeClr val="tx1"/>
                </a:solidFill>
              </a:defRPr>
            </a:lvl1pPr>
          </a:lstStyle>
          <a:p>
            <a:r>
              <a:rPr lang="en-US"/>
              <a:t>Click icon to add table</a:t>
            </a:r>
          </a:p>
        </p:txBody>
      </p:sp>
      <p:sp>
        <p:nvSpPr>
          <p:cNvPr id="3" name="Footer Placeholder 3">
            <a:extLst>
              <a:ext uri="{FF2B5EF4-FFF2-40B4-BE49-F238E27FC236}">
                <a16:creationId xmlns:a16="http://schemas.microsoft.com/office/drawing/2014/main" id="{3694FFFD-5196-625E-C3FC-9AB6BB13FC34}"/>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
        <p:nvSpPr>
          <p:cNvPr id="7" name="Slide Number">
            <a:extLst>
              <a:ext uri="{FF2B5EF4-FFF2-40B4-BE49-F238E27FC236}">
                <a16:creationId xmlns:a16="http://schemas.microsoft.com/office/drawing/2014/main" id="{DD2D25A8-2AEC-F554-8D58-47C112486D41}"/>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37111426"/>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hasCustomPrompt="1"/>
          </p:nvPr>
        </p:nvSpPr>
        <p:spPr>
          <a:xfrm>
            <a:off x="287963" y="288036"/>
            <a:ext cx="2474590" cy="763525"/>
          </a:xfrm>
        </p:spPr>
        <p:txBody>
          <a:bodyPr/>
          <a:lstStyle>
            <a:lvl1pPr>
              <a:lnSpc>
                <a:spcPct val="100000"/>
              </a:lnSpc>
              <a:defRPr sz="3399">
                <a:solidFill>
                  <a:schemeClr val="tx2"/>
                </a:solidFill>
              </a:defRPr>
            </a:lvl1pPr>
          </a:lstStyle>
          <a:p>
            <a:r>
              <a:rPr lang="en-US"/>
              <a:t>Click to edit Master title style </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10" name="Text Placeholder 9">
            <a:extLst>
              <a:ext uri="{FF2B5EF4-FFF2-40B4-BE49-F238E27FC236}">
                <a16:creationId xmlns:a16="http://schemas.microsoft.com/office/drawing/2014/main" id="{BDFFC916-9B64-A7DC-672D-A4AFA1AE968C}"/>
              </a:ext>
            </a:extLst>
          </p:cNvPr>
          <p:cNvSpPr>
            <a:spLocks noGrp="1"/>
          </p:cNvSpPr>
          <p:nvPr>
            <p:ph type="body" sz="quarter" idx="13" hasCustomPrompt="1"/>
          </p:nvPr>
        </p:nvSpPr>
        <p:spPr>
          <a:xfrm>
            <a:off x="3333316" y="6391244"/>
            <a:ext cx="2761890" cy="212725"/>
          </a:xfrm>
        </p:spPr>
        <p:txBody>
          <a:bodyPr anchor="b" anchorCtr="0"/>
          <a:lstStyle>
            <a:lvl1pPr>
              <a:defRPr sz="800">
                <a:latin typeface="IBM Plex Sans Light" panose="020B0503050203000203" pitchFamily="34" charset="0"/>
              </a:defRPr>
            </a:lvl1pPr>
            <a:lvl2pPr>
              <a:defRPr sz="800"/>
            </a:lvl2pPr>
            <a:lvl3pPr>
              <a:defRPr sz="800"/>
            </a:lvl3pPr>
            <a:lvl4pPr>
              <a:defRPr sz="800"/>
            </a:lvl4pPr>
            <a:lvl5pPr>
              <a:defRPr sz="800"/>
            </a:lvl5pPr>
          </a:lstStyle>
          <a:p>
            <a:pPr lvl="0"/>
            <a:r>
              <a:rPr lang="en-US"/>
              <a:t>Source</a:t>
            </a:r>
          </a:p>
        </p:txBody>
      </p:sp>
      <p:sp>
        <p:nvSpPr>
          <p:cNvPr id="13" name="Text Placeholder 12">
            <a:extLst>
              <a:ext uri="{FF2B5EF4-FFF2-40B4-BE49-F238E27FC236}">
                <a16:creationId xmlns:a16="http://schemas.microsoft.com/office/drawing/2014/main" id="{81A85749-B0F2-6B16-9E7E-1C979593E9E7}"/>
              </a:ext>
            </a:extLst>
          </p:cNvPr>
          <p:cNvSpPr>
            <a:spLocks noGrp="1"/>
          </p:cNvSpPr>
          <p:nvPr>
            <p:ph type="body" sz="quarter" idx="14"/>
          </p:nvPr>
        </p:nvSpPr>
        <p:spPr>
          <a:xfrm>
            <a:off x="287963" y="1522413"/>
            <a:ext cx="2471416" cy="4575175"/>
          </a:xfrm>
        </p:spPr>
        <p:txBody>
          <a:bodyPr/>
          <a:lstStyle>
            <a:lvl1pPr>
              <a:defRPr sz="1800">
                <a:latin typeface="IBM Plex Sans Light"/>
              </a:defRPr>
            </a:lvl1pPr>
            <a:lvl2pPr marL="163767" indent="-163767">
              <a:lnSpc>
                <a:spcPct val="100000"/>
              </a:lnSpc>
              <a:defRPr sz="1400">
                <a:latin typeface="IBM Plex Sans Light"/>
              </a:defRPr>
            </a:lvl2pPr>
            <a:lvl3pPr marL="329334" indent="-163767">
              <a:lnSpc>
                <a:spcPct val="100000"/>
              </a:lnSpc>
              <a:defRPr sz="1400">
                <a:latin typeface="IBM Plex Sans Light"/>
              </a:defRPr>
            </a:lvl3pPr>
            <a:lvl4pPr marL="493101" indent="-163767">
              <a:lnSpc>
                <a:spcPct val="100000"/>
              </a:lnSpc>
              <a:defRPr sz="1400">
                <a:latin typeface="IBM Plex Sans Light"/>
              </a:defRPr>
            </a:lvl4pPr>
            <a:lvl5pPr>
              <a:defRPr sz="1400">
                <a:latin typeface="IBM Plex Sans Light"/>
              </a:defRPr>
            </a:lvl5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Click to edit Master text styles</a:t>
            </a:r>
          </a:p>
          <a:p>
            <a:pPr marL="163767" marR="0" lvl="1"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Second level</a:t>
            </a:r>
          </a:p>
          <a:p>
            <a:pPr marL="329334" marR="0" lvl="2"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Third level</a:t>
            </a:r>
          </a:p>
          <a:p>
            <a:pPr marL="493101" marR="0" lvl="3" indent="-163767" algn="l" defTabSz="1218956" rtl="0" eaLnBrk="1" fontAlgn="auto" latinLnBrk="0" hangingPunct="1">
              <a:lnSpc>
                <a:spcPct val="100000"/>
              </a:lnSpc>
              <a:spcBef>
                <a:spcPts val="0"/>
              </a:spcBef>
              <a:spcAft>
                <a:spcPts val="0"/>
              </a:spcAft>
              <a:buClrTx/>
              <a:buSzPct val="100000"/>
              <a:buFont typeface="IBM Plex Sans Light"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IBM Plex Sans Light"/>
                <a:sym typeface="IBM Plex Sans Light"/>
              </a:rPr>
              <a:t>Fourth level</a:t>
            </a:r>
          </a:p>
          <a:p>
            <a:pPr>
              <a:lnSpc>
                <a:spcPct val="110000"/>
              </a:lnSpc>
            </a:pPr>
            <a:endParaRPr lang="en-US" sz="1400">
              <a:latin typeface="IBM Plex Sans Light" panose="020B0403050203000203" pitchFamily="34" charset="0"/>
            </a:endParaRPr>
          </a:p>
        </p:txBody>
      </p:sp>
      <p:sp>
        <p:nvSpPr>
          <p:cNvPr id="4" name="Footer Placeholder 3">
            <a:extLst>
              <a:ext uri="{FF2B5EF4-FFF2-40B4-BE49-F238E27FC236}">
                <a16:creationId xmlns:a16="http://schemas.microsoft.com/office/drawing/2014/main" id="{E71CF978-95F1-0188-4FBB-81AAB884C2C1}"/>
              </a:ext>
            </a:extLst>
          </p:cNvPr>
          <p:cNvSpPr>
            <a:spLocks noGrp="1"/>
          </p:cNvSpPr>
          <p:nvPr>
            <p:ph type="ftr" sz="quarter" idx="18"/>
          </p:nvPr>
        </p:nvSpPr>
        <p:spPr>
          <a:xfrm>
            <a:off x="287963" y="6408000"/>
            <a:ext cx="2477765" cy="190500"/>
          </a:xfrm>
          <a:prstGeom prst="rect">
            <a:avLst/>
          </a:prstGeom>
        </p:spPr>
        <p:txBody>
          <a:bodyPr/>
          <a:lstStyle/>
          <a:p>
            <a:r>
              <a:rPr lang="en-US"/>
              <a:t>© 2025 cloudflight / IBM Corporation </a:t>
            </a:r>
          </a:p>
        </p:txBody>
      </p:sp>
    </p:spTree>
    <p:extLst>
      <p:ext uri="{BB962C8B-B14F-4D97-AF65-F5344CB8AC3E}">
        <p14:creationId xmlns:p14="http://schemas.microsoft.com/office/powerpoint/2010/main" val="826376097"/>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288000"/>
            <a:ext cx="2477765" cy="1429544"/>
          </a:xfrm>
        </p:spPr>
        <p:txBody>
          <a:bodyPr/>
          <a:lstStyle>
            <a:lvl1pPr>
              <a:lnSpc>
                <a:spcPct val="100000"/>
              </a:lnSpc>
              <a:spcBef>
                <a:spcPts val="0"/>
              </a:spcBef>
              <a:defRPr sz="33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30109" y="288000"/>
            <a:ext cx="2476178" cy="5812631"/>
          </a:xfrm>
        </p:spPr>
        <p:txBody>
          <a:bodyPr/>
          <a:lstStyle>
            <a:lvl1pPr>
              <a:lnSpc>
                <a:spcPct val="120000"/>
              </a:lnSpc>
              <a:spcBef>
                <a:spcPts val="0"/>
              </a:spcBef>
              <a:defRPr sz="800" b="0" i="0">
                <a:solidFill>
                  <a:schemeClr val="tx1"/>
                </a:solidFill>
                <a:latin typeface="IBM Plex Sans Light" panose="020B0503050203000203" pitchFamily="34" charset="0"/>
              </a:defRPr>
            </a:lvl1pPr>
            <a:lvl2pPr marL="73137" indent="-73137">
              <a:lnSpc>
                <a:spcPct val="120000"/>
              </a:lnSpc>
              <a:spcBef>
                <a:spcPts val="0"/>
              </a:spcBef>
              <a:defRPr sz="800" b="0" i="0">
                <a:solidFill>
                  <a:schemeClr val="tx1"/>
                </a:solidFill>
                <a:latin typeface="IBM Plex Sans Light" panose="020B0503050203000203" pitchFamily="34" charset="0"/>
              </a:defRPr>
            </a:lvl2pPr>
            <a:lvl3pPr marL="146275" indent="-73137">
              <a:lnSpc>
                <a:spcPct val="120000"/>
              </a:lnSpc>
              <a:spcBef>
                <a:spcPts val="0"/>
              </a:spcBef>
              <a:defRPr sz="800" b="0" i="0">
                <a:solidFill>
                  <a:schemeClr val="tx1"/>
                </a:solidFill>
                <a:latin typeface="IBM Plex Sans Light" panose="020B0503050203000203" pitchFamily="34" charset="0"/>
              </a:defRPr>
            </a:lvl3pPr>
            <a:lvl4pPr marL="219412" indent="-73137">
              <a:lnSpc>
                <a:spcPct val="12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solidFill>
                  <a:schemeClr val="tx1"/>
                </a:solidFill>
                <a:latin typeface="IBM Plex Sans Light"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87963" y="6408000"/>
            <a:ext cx="2477765" cy="190500"/>
          </a:xfrm>
          <a:prstGeom prst="rect">
            <a:avLst/>
          </a:prstGeom>
        </p:spPr>
        <p:txBody>
          <a:bodyPr/>
          <a:lstStyle/>
          <a:p>
            <a:r>
              <a:rPr lang="en-US"/>
              <a:t>© 2025 cloudflight / IBM Corporation </a:t>
            </a:r>
          </a:p>
        </p:txBody>
      </p:sp>
      <p:sp>
        <p:nvSpPr>
          <p:cNvPr id="3" name="Slide Number">
            <a:extLst>
              <a:ext uri="{FF2B5EF4-FFF2-40B4-BE49-F238E27FC236}">
                <a16:creationId xmlns:a16="http://schemas.microsoft.com/office/drawing/2014/main" id="{0C628C1A-F2DD-6011-5846-A9A3A6D3BD7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61004244"/>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288000"/>
            <a:ext cx="2477765" cy="1429544"/>
          </a:xfrm>
        </p:spPr>
        <p:txBody>
          <a:bodyPr/>
          <a:lstStyle>
            <a:lvl1pPr>
              <a:lnSpc>
                <a:spcPct val="100000"/>
              </a:lnSpc>
              <a:spcBef>
                <a:spcPts val="0"/>
              </a:spcBef>
              <a:defRPr sz="33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9168" y="288000"/>
            <a:ext cx="2476178" cy="5812631"/>
          </a:xfrm>
        </p:spPr>
        <p:txBody>
          <a:bodyPr/>
          <a:lstStyle>
            <a:lvl1pPr>
              <a:lnSpc>
                <a:spcPct val="120000"/>
              </a:lnSpc>
              <a:spcBef>
                <a:spcPts val="0"/>
              </a:spcBef>
              <a:defRPr sz="800" b="0" i="0">
                <a:solidFill>
                  <a:schemeClr val="tx1"/>
                </a:solidFill>
                <a:latin typeface="IBM Plex Sans Light" panose="020B0503050203000203" pitchFamily="34" charset="0"/>
              </a:defRPr>
            </a:lvl1pPr>
            <a:lvl2pPr marL="73137" indent="-73137">
              <a:lnSpc>
                <a:spcPct val="120000"/>
              </a:lnSpc>
              <a:spcBef>
                <a:spcPts val="0"/>
              </a:spcBef>
              <a:defRPr sz="800" b="0" i="0">
                <a:solidFill>
                  <a:schemeClr val="tx1"/>
                </a:solidFill>
                <a:latin typeface="IBM Plex Sans Light" panose="020B0503050203000203" pitchFamily="34" charset="0"/>
              </a:defRPr>
            </a:lvl2pPr>
            <a:lvl3pPr marL="146275" indent="-73137">
              <a:lnSpc>
                <a:spcPct val="120000"/>
              </a:lnSpc>
              <a:spcBef>
                <a:spcPts val="0"/>
              </a:spcBef>
              <a:defRPr sz="800" b="0" i="0">
                <a:solidFill>
                  <a:schemeClr val="tx1"/>
                </a:solidFill>
                <a:latin typeface="IBM Plex Sans Light" panose="020B0503050203000203" pitchFamily="34" charset="0"/>
              </a:defRPr>
            </a:lvl3pPr>
            <a:lvl4pPr marL="219412" indent="-73137">
              <a:lnSpc>
                <a:spcPct val="12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solidFill>
                  <a:schemeClr val="tx1"/>
                </a:solidFill>
                <a:latin typeface="IBM Plex Sans Light"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8000"/>
            <a:ext cx="2476178" cy="5812631"/>
          </a:xfrm>
        </p:spPr>
        <p:txBody>
          <a:bodyPr/>
          <a:lstStyle>
            <a:lvl1pPr>
              <a:lnSpc>
                <a:spcPct val="120000"/>
              </a:lnSpc>
              <a:spcBef>
                <a:spcPts val="0"/>
              </a:spcBef>
              <a:defRPr sz="800" b="0" i="0">
                <a:solidFill>
                  <a:schemeClr val="tx1"/>
                </a:solidFill>
                <a:latin typeface="IBM Plex Sans Light" panose="020B0503050203000203" pitchFamily="34" charset="0"/>
              </a:defRPr>
            </a:lvl1pPr>
            <a:lvl2pPr marL="73137" indent="-73137">
              <a:lnSpc>
                <a:spcPct val="120000"/>
              </a:lnSpc>
              <a:spcBef>
                <a:spcPts val="0"/>
              </a:spcBef>
              <a:defRPr sz="800" b="0" i="0">
                <a:solidFill>
                  <a:schemeClr val="tx1"/>
                </a:solidFill>
                <a:latin typeface="IBM Plex Sans Light" panose="020B0503050203000203" pitchFamily="34" charset="0"/>
              </a:defRPr>
            </a:lvl2pPr>
            <a:lvl3pPr marL="146275" indent="-73137">
              <a:lnSpc>
                <a:spcPct val="120000"/>
              </a:lnSpc>
              <a:spcBef>
                <a:spcPts val="0"/>
              </a:spcBef>
              <a:defRPr sz="800" b="0" i="0">
                <a:solidFill>
                  <a:schemeClr val="tx1"/>
                </a:solidFill>
                <a:latin typeface="IBM Plex Sans Light" panose="020B0503050203000203" pitchFamily="34" charset="0"/>
              </a:defRPr>
            </a:lvl3pPr>
            <a:lvl4pPr marL="219412" indent="-73137">
              <a:lnSpc>
                <a:spcPct val="120000"/>
              </a:lnSpc>
              <a:spcBef>
                <a:spcPts val="0"/>
              </a:spcBef>
              <a:defRPr sz="800" b="0" i="0">
                <a:solidFill>
                  <a:schemeClr val="tx1"/>
                </a:solidFill>
                <a:latin typeface="IBM Plex Sans Light" panose="020B0503050203000203" pitchFamily="34" charset="0"/>
              </a:defRPr>
            </a:lvl4pPr>
            <a:lvl5pPr>
              <a:lnSpc>
                <a:spcPct val="120000"/>
              </a:lnSpc>
              <a:spcBef>
                <a:spcPts val="0"/>
              </a:spcBef>
              <a:defRPr sz="800" b="0" i="0">
                <a:solidFill>
                  <a:schemeClr val="tx1"/>
                </a:solidFill>
                <a:latin typeface="IBM Plex Sans Light"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8" name="Slide Number">
            <a:extLst>
              <a:ext uri="{FF2B5EF4-FFF2-40B4-BE49-F238E27FC236}">
                <a16:creationId xmlns:a16="http://schemas.microsoft.com/office/drawing/2014/main" id="{3FBFB86A-A7DC-B54C-4EEC-B69E1897903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6051829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87963" y="6408000"/>
            <a:ext cx="2477765" cy="190500"/>
          </a:xfrm>
          <a:prstGeom prst="rect">
            <a:avLst/>
          </a:prstGeom>
        </p:spPr>
        <p:txBody>
          <a:bodyPr/>
          <a:lstStyle/>
          <a:p>
            <a:r>
              <a:rPr lang="en-US"/>
              <a:t>© 2025 cloudflight / IBM Corporation </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5458720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3EB3054-B75A-4BD7-8B3E-8DC0F614FAF3}" type="datetimeFigureOut">
              <a:rPr lang="de-DE" smtClean="0"/>
              <a:t>26.11.2025</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4402064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00000"/>
              </a:lnSpc>
              <a:defRPr sz="3399">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99642756"/>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2018521"/>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1695333"/>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4126" y="855663"/>
            <a:ext cx="5049180" cy="4668837"/>
          </a:xfrm>
        </p:spPr>
        <p:txBody>
          <a:bodyPr/>
          <a:lstStyle>
            <a:lvl1pPr>
              <a:lnSpc>
                <a:spcPct val="100000"/>
              </a:lnSpc>
              <a:defRPr sz="43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4126" y="285750"/>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3" name="Picture 2">
            <a:extLst>
              <a:ext uri="{FF2B5EF4-FFF2-40B4-BE49-F238E27FC236}">
                <a16:creationId xmlns:a16="http://schemas.microsoft.com/office/drawing/2014/main" id="{6E1E1290-FE86-28FE-CC32-A32973D2D190}"/>
              </a:ext>
            </a:extLst>
          </p:cNvPr>
          <p:cNvPicPr>
            <a:picLocks noChangeAspect="1"/>
          </p:cNvPicPr>
          <p:nvPr userDrawn="1"/>
        </p:nvPicPr>
        <p:blipFill>
          <a:blip r:embed="rId2"/>
          <a:stretch>
            <a:fillRect/>
          </a:stretch>
        </p:blipFill>
        <p:spPr>
          <a:xfrm>
            <a:off x="284479" y="6267141"/>
            <a:ext cx="819044" cy="304800"/>
          </a:xfrm>
          <a:prstGeom prst="rect">
            <a:avLst/>
          </a:prstGeom>
        </p:spPr>
      </p:pic>
    </p:spTree>
    <p:extLst>
      <p:ext uri="{BB962C8B-B14F-4D97-AF65-F5344CB8AC3E}">
        <p14:creationId xmlns:p14="http://schemas.microsoft.com/office/powerpoint/2010/main" val="408600031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20"/>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pPr defTabSz="914507">
              <a:defRPr/>
            </a:pPr>
            <a:fld id="{86CB4B4D-7CA3-9044-876B-883B54F8677D}" type="slidenum">
              <a:rPr lang="en-US" smtClean="0">
                <a:solidFill>
                  <a:srgbClr val="000000"/>
                </a:solidFill>
              </a:rPr>
              <a:pPr defTabSz="914507">
                <a:defRPr/>
              </a:pPr>
              <a:t>‹#›</a:t>
            </a:fld>
            <a:endParaRPr lang="en-US">
              <a:solidFill>
                <a:srgbClr val="000000"/>
              </a:solidFill>
            </a:endParaRPr>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429544"/>
          </a:xfrm>
        </p:spPr>
        <p:txBody>
          <a:bodyPr rIns="457200"/>
          <a:lstStyle>
            <a:lvl1pPr>
              <a:lnSpc>
                <a:spcPct val="100000"/>
              </a:lnSpc>
              <a:defRPr sz="3198">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pPr defTabSz="914507">
              <a:defRPr/>
            </a:pPr>
            <a:r>
              <a:rPr lang="en-US">
                <a:solidFill>
                  <a:srgbClr val="000000"/>
                </a:solidFill>
              </a:rPr>
              <a:t>© 2025 cloudflight / IBM Corporation </a:t>
            </a:r>
          </a:p>
        </p:txBody>
      </p:sp>
    </p:spTree>
    <p:extLst>
      <p:ext uri="{BB962C8B-B14F-4D97-AF65-F5344CB8AC3E}">
        <p14:creationId xmlns:p14="http://schemas.microsoft.com/office/powerpoint/2010/main" val="309974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eft side text, white+cya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8"/>
            <a:ext cx="2473891"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8" cy="1429544"/>
          </a:xfrm>
        </p:spPr>
        <p:txBody>
          <a:bodyPr rIns="457200"/>
          <a:lstStyle>
            <a:lvl1pPr>
              <a:lnSpc>
                <a:spcPct val="100000"/>
              </a:lnSpc>
              <a:defRPr sz="3199">
                <a:solidFill>
                  <a:schemeClr val="tx2"/>
                </a:solidFill>
              </a:defRPr>
            </a:lvl1pPr>
          </a:lstStyle>
          <a:p>
            <a:r>
              <a:rPr lang="en-US"/>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
        <p:nvSpPr>
          <p:cNvPr id="2" name="Rectangle 1">
            <a:extLst>
              <a:ext uri="{FF2B5EF4-FFF2-40B4-BE49-F238E27FC236}">
                <a16:creationId xmlns:a16="http://schemas.microsoft.com/office/drawing/2014/main" id="{32BE503C-A69C-5EFC-BA7A-97308B436F87}"/>
              </a:ext>
            </a:extLst>
          </p:cNvPr>
          <p:cNvSpPr/>
          <p:nvPr userDrawn="1"/>
        </p:nvSpPr>
        <p:spPr bwMode="auto">
          <a:xfrm>
            <a:off x="3047603" y="0"/>
            <a:ext cx="9144397"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4" name="Slide Number Placeholder 2">
            <a:extLst>
              <a:ext uri="{FF2B5EF4-FFF2-40B4-BE49-F238E27FC236}">
                <a16:creationId xmlns:a16="http://schemas.microsoft.com/office/drawing/2014/main" id="{BDA953EC-0A9D-D7C9-44B5-8EE8D209213E}"/>
              </a:ext>
            </a:extLst>
          </p:cNvPr>
          <p:cNvSpPr txBox="1">
            <a:spLocks/>
          </p:cNvSpPr>
          <p:nvPr userDrawn="1"/>
        </p:nvSpPr>
        <p:spPr>
          <a:xfrm>
            <a:off x="11770048" y="6469507"/>
            <a:ext cx="134652" cy="123111"/>
          </a:xfrm>
          <a:prstGeom prst="rect">
            <a:avLst/>
          </a:prstGeom>
          <a:ln w="12700">
            <a:miter lim="400000"/>
          </a:ln>
        </p:spPr>
        <p:txBody>
          <a:bodyPr wrap="none" lIns="0" tIns="0" rIns="0" bIns="0" anchor="b" anchorCtr="0">
            <a:spAutoFit/>
          </a:bodyP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sym typeface="IBM Plex San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86CB4B4D-7CA3-9044-876B-883B54F8677D}" type="slidenum">
              <a:rPr lang="en-US" sz="800" smtClean="0"/>
              <a:pPr/>
              <a:t>‹#›</a:t>
            </a:fld>
            <a:endParaRPr lang="en-US" sz="800"/>
          </a:p>
        </p:txBody>
      </p:sp>
    </p:spTree>
    <p:extLst>
      <p:ext uri="{BB962C8B-B14F-4D97-AF65-F5344CB8AC3E}">
        <p14:creationId xmlns:p14="http://schemas.microsoft.com/office/powerpoint/2010/main" val="307679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GB"/>
              <a:t>Click to edit Master title style</a:t>
            </a:r>
            <a:endParaRPr lang="en-US"/>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 2025 cloudflight / IBM Corporation </a:t>
            </a:r>
          </a:p>
        </p:txBody>
      </p:sp>
      <p:sp>
        <p:nvSpPr>
          <p:cNvPr id="4" name="Slide Number Placeholder"/>
          <p:cNvSpPr>
            <a:spLocks noGrp="1"/>
          </p:cNvSpPr>
          <p:nvPr>
            <p:ph type="sldNum" sz="quarter" idx="11"/>
          </p:nvPr>
        </p:nvSpPr>
        <p:spPr>
          <a:xfrm>
            <a:off x="8210550" y="7102387"/>
            <a:ext cx="2743200" cy="365125"/>
          </a:xfrm>
        </p:spPr>
        <p:txBody>
          <a:bodyPr/>
          <a:lstStyle>
            <a:lvl1pPr>
              <a:defRPr>
                <a:solidFill>
                  <a:schemeClr val="tx1"/>
                </a:solidFill>
              </a:defRPr>
            </a:lvl1pPr>
          </a:lstStyle>
          <a:p>
            <a:fld id="{59395FB3-9C97-154F-86B2-7E381B951268}" type="slidenum">
              <a:rPr lang="en-US" smtClean="0"/>
              <a:pPr/>
              <a:t>‹#›</a:t>
            </a:fld>
            <a:endParaRPr lang="en-US"/>
          </a:p>
        </p:txBody>
      </p:sp>
      <p:sp>
        <p:nvSpPr>
          <p:cNvPr id="5" name="Slide Number Placeholder 32">
            <a:extLst>
              <a:ext uri="{FF2B5EF4-FFF2-40B4-BE49-F238E27FC236}">
                <a16:creationId xmlns:a16="http://schemas.microsoft.com/office/drawing/2014/main" id="{E460CABE-C614-C515-FCDE-3E2CA399FEFF}"/>
              </a:ext>
            </a:extLst>
          </p:cNvPr>
          <p:cNvSpPr txBox="1">
            <a:spLocks/>
          </p:cNvSpPr>
          <p:nvPr userDrawn="1"/>
        </p:nvSpPr>
        <p:spPr>
          <a:xfrm>
            <a:off x="9637224" y="6528551"/>
            <a:ext cx="2438309" cy="222249"/>
          </a:xfrm>
          <a:prstGeom prst="rect">
            <a:avLst/>
          </a:prstGeom>
        </p:spPr>
        <p:txBody>
          <a:bodyPr vert="horz" lIns="0" tIns="0" rIns="0" bIns="0" rtlCol="0" anchor="ctr"/>
          <a:lstStyle>
            <a:defPPr>
              <a:defRPr lang="en-US"/>
            </a:defPPr>
            <a:lvl1pPr marL="0" algn="r"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38"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r" defTabSz="91443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296446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3504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4792" y="6037238"/>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4" name="Picture 3">
            <a:extLst>
              <a:ext uri="{FF2B5EF4-FFF2-40B4-BE49-F238E27FC236}">
                <a16:creationId xmlns:a16="http://schemas.microsoft.com/office/drawing/2014/main" id="{26C325FD-3119-4896-6A27-A57339FA432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15954407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Arial"/>
              <a:buNone/>
              <a:tabLst/>
            </a:pPr>
            <a:endParaRPr kumimoji="0" lang="en-US" sz="700" b="0" i="0" u="none" strike="noStrike" cap="none" normalizeH="0" baseline="0">
              <a:ln>
                <a:noFill/>
              </a:ln>
              <a:solidFill>
                <a:schemeClr val="bg1"/>
              </a:solidFill>
              <a:effectLst/>
              <a:latin typeface="Arial" panose="020B0604020202020204"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6">
            <a:extLst>
              <a:ext uri="{FF2B5EF4-FFF2-40B4-BE49-F238E27FC236}">
                <a16:creationId xmlns:a16="http://schemas.microsoft.com/office/drawing/2014/main" id="{3C1E3834-45FB-06CD-DA2C-F5418A8CE458}"/>
              </a:ext>
            </a:extLst>
          </p:cNvPr>
          <p:cNvSpPr>
            <a:spLocks noGrp="1"/>
          </p:cNvSpPr>
          <p:nvPr>
            <p:ph type="body" sz="quarter" idx="12"/>
          </p:nvPr>
        </p:nvSpPr>
        <p:spPr>
          <a:xfrm>
            <a:off x="287999" y="603504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5">
            <a:extLst>
              <a:ext uri="{FF2B5EF4-FFF2-40B4-BE49-F238E27FC236}">
                <a16:creationId xmlns:a16="http://schemas.microsoft.com/office/drawing/2014/main" id="{9879587C-66A4-C25C-94A7-E5DF75D905FF}"/>
              </a:ext>
            </a:extLst>
          </p:cNvPr>
          <p:cNvSpPr>
            <a:spLocks noGrp="1"/>
          </p:cNvSpPr>
          <p:nvPr>
            <p:ph type="body" sz="quarter" idx="13"/>
          </p:nvPr>
        </p:nvSpPr>
        <p:spPr>
          <a:xfrm>
            <a:off x="3334792" y="6037238"/>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4" name="Picture 3">
            <a:extLst>
              <a:ext uri="{FF2B5EF4-FFF2-40B4-BE49-F238E27FC236}">
                <a16:creationId xmlns:a16="http://schemas.microsoft.com/office/drawing/2014/main" id="{6FDBA43B-788C-E0B5-3630-306F22AC773C}"/>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4127337863"/>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GB"/>
              <a:t>Click to edit Master title style</a:t>
            </a:r>
            <a:endParaRPr lang="en-US" dirty="0"/>
          </a:p>
        </p:txBody>
      </p:sp>
      <p:pic>
        <p:nvPicPr>
          <p:cNvPr id="3" name="Picture 2">
            <a:extLst>
              <a:ext uri="{FF2B5EF4-FFF2-40B4-BE49-F238E27FC236}">
                <a16:creationId xmlns:a16="http://schemas.microsoft.com/office/drawing/2014/main" id="{DBBA5241-50D8-80C1-A3F6-C96F42659C9A}"/>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81164881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EB3054-B75A-4BD7-8B3E-8DC0F614FAF3}" type="datetimeFigureOut">
              <a:rPr lang="de-DE" smtClean="0"/>
              <a:t>26.11.2025</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0876928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27064"/>
            <a:ext cx="5524575" cy="381000"/>
          </a:xfrm>
        </p:spPr>
        <p:txBody>
          <a:bodyPr anchor="b"/>
          <a:lstStyle>
            <a:lvl1pPr>
              <a:lnSpc>
                <a:spcPct val="110000"/>
              </a:lnSpc>
              <a:spcBef>
                <a:spcPts val="0"/>
              </a:spcBef>
              <a:defRPr sz="1400">
                <a:solidFill>
                  <a:schemeClr val="tx1"/>
                </a:solidFill>
              </a:defRPr>
            </a:lvl1pPr>
          </a:lstStyle>
          <a:p>
            <a:pPr lvl="0"/>
            <a:r>
              <a:rPr lang="en-GB"/>
              <a:t>Click to edit Master text styles</a:t>
            </a:r>
          </a:p>
        </p:txBody>
      </p:sp>
      <p:pic>
        <p:nvPicPr>
          <p:cNvPr id="3" name="Picture 2">
            <a:extLst>
              <a:ext uri="{FF2B5EF4-FFF2-40B4-BE49-F238E27FC236}">
                <a16:creationId xmlns:a16="http://schemas.microsoft.com/office/drawing/2014/main" id="{3839F2F7-D36B-48FA-D5E7-9B681689EAA3}"/>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769915842"/>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GB"/>
              <a:t>Click to edit Master title style</a:t>
            </a:r>
            <a:endParaRPr lang="en-US" dirty="0"/>
          </a:p>
        </p:txBody>
      </p:sp>
      <p:pic>
        <p:nvPicPr>
          <p:cNvPr id="3" name="Picture 2">
            <a:extLst>
              <a:ext uri="{FF2B5EF4-FFF2-40B4-BE49-F238E27FC236}">
                <a16:creationId xmlns:a16="http://schemas.microsoft.com/office/drawing/2014/main" id="{F9A89CB7-86E6-59F3-6A6C-8D946F4F17E0}"/>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512929733"/>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lick to edit Master text styles</a:t>
            </a:r>
          </a:p>
        </p:txBody>
      </p:sp>
      <p:pic>
        <p:nvPicPr>
          <p:cNvPr id="4" name="Picture 3">
            <a:extLst>
              <a:ext uri="{FF2B5EF4-FFF2-40B4-BE49-F238E27FC236}">
                <a16:creationId xmlns:a16="http://schemas.microsoft.com/office/drawing/2014/main" id="{0587D48F-8317-AE48-F161-2D6976DBFBED}"/>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4116595260"/>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lide Number Placeholder">
            <a:extLst>
              <a:ext uri="{FF2B5EF4-FFF2-40B4-BE49-F238E27FC236}">
                <a16:creationId xmlns:a16="http://schemas.microsoft.com/office/drawing/2014/main" id="{7F4D3A79-AFC3-BF88-B6CC-E6183F6158F1}"/>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0C99DF82-CD3B-63F6-2DF6-5644D9EEAA70}"/>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711736911"/>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GB"/>
              <a:t>Click to edit Master title style</a:t>
            </a:r>
            <a:endParaRPr lang="en-US" dirty="0"/>
          </a:p>
        </p:txBody>
      </p:sp>
      <p:sp>
        <p:nvSpPr>
          <p:cNvPr id="3" name="Slide Number Placeholder">
            <a:extLst>
              <a:ext uri="{FF2B5EF4-FFF2-40B4-BE49-F238E27FC236}">
                <a16:creationId xmlns:a16="http://schemas.microsoft.com/office/drawing/2014/main" id="{7A5E0E0A-7BD8-1FE0-DB1F-D9BBCD130E6C}"/>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3A1DDA7C-B5C6-B481-FD67-2E22E36E09E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448709598"/>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0500"/>
            <a:ext cx="8569797" cy="4095750"/>
          </a:xfrm>
        </p:spPr>
        <p:txBody>
          <a:bodyPr/>
          <a:lstStyle>
            <a:lvl1pPr>
              <a:defRPr sz="8598">
                <a:solidFill>
                  <a:schemeClr val="tx2"/>
                </a:solidFill>
              </a:defRPr>
            </a:lvl1pPr>
          </a:lstStyle>
          <a:p>
            <a:r>
              <a:rPr lang="en-GB"/>
              <a:t>Click to edit Master title style</a:t>
            </a:r>
            <a:endParaRPr lang="en-US" dirty="0"/>
          </a:p>
        </p:txBody>
      </p:sp>
      <p:sp>
        <p:nvSpPr>
          <p:cNvPr id="3" name="Slide Number Placeholder">
            <a:extLst>
              <a:ext uri="{FF2B5EF4-FFF2-40B4-BE49-F238E27FC236}">
                <a16:creationId xmlns:a16="http://schemas.microsoft.com/office/drawing/2014/main" id="{71E55571-4D5A-92ED-BAB3-E78A01A4D409}"/>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0CACC40B-CE36-8A51-D0C4-3565768093EA}"/>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826891135"/>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192024"/>
            <a:ext cx="5520318" cy="4287044"/>
          </a:xfrm>
        </p:spPr>
        <p:txBody>
          <a:bodyPr/>
          <a:lstStyle>
            <a:lvl1pPr>
              <a:lnSpc>
                <a:spcPct val="100000"/>
              </a:lnSpc>
              <a:spcBef>
                <a:spcPts val="0"/>
              </a:spcBef>
              <a:defRPr sz="3199">
                <a:solidFill>
                  <a:schemeClr val="tx1"/>
                </a:solidFill>
              </a:defRPr>
            </a:lvl1pPr>
            <a:lvl2pPr marL="292549" indent="-292549">
              <a:lnSpc>
                <a:spcPct val="100000"/>
              </a:lnSpc>
              <a:spcBef>
                <a:spcPts val="0"/>
              </a:spcBef>
              <a:defRPr sz="3199">
                <a:solidFill>
                  <a:schemeClr val="tx1"/>
                </a:solidFill>
              </a:defRPr>
            </a:lvl2pPr>
            <a:lvl3pPr marL="548530" indent="-292549">
              <a:lnSpc>
                <a:spcPct val="100000"/>
              </a:lnSpc>
              <a:spcBef>
                <a:spcPts val="0"/>
              </a:spcBef>
              <a:defRPr sz="3199">
                <a:solidFill>
                  <a:schemeClr val="tx1"/>
                </a:solidFill>
              </a:defRPr>
            </a:lvl3pPr>
            <a:lvl4pPr marL="877648">
              <a:lnSpc>
                <a:spcPct val="100000"/>
              </a:lnSpc>
              <a:spcBef>
                <a:spcPts val="0"/>
              </a:spcBef>
              <a:defRPr sz="3199">
                <a:solidFill>
                  <a:schemeClr val="tx1"/>
                </a:solidFill>
              </a:defRPr>
            </a:lvl4pPr>
            <a:lvl5pPr>
              <a:lnSpc>
                <a:spcPct val="100000"/>
              </a:lnSpc>
              <a:spcBef>
                <a:spcPts val="0"/>
              </a:spcBef>
              <a:defRPr sz="3199"/>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Slide Number Placeholder">
            <a:extLst>
              <a:ext uri="{FF2B5EF4-FFF2-40B4-BE49-F238E27FC236}">
                <a16:creationId xmlns:a16="http://schemas.microsoft.com/office/drawing/2014/main" id="{2EC0D181-5EEC-EFF5-8D2F-39778B86B4E1}"/>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7" name="Footer Placeholder 1">
            <a:extLst>
              <a:ext uri="{FF2B5EF4-FFF2-40B4-BE49-F238E27FC236}">
                <a16:creationId xmlns:a16="http://schemas.microsoft.com/office/drawing/2014/main" id="{A52C174A-1414-C009-CC67-C193F560E7F2}"/>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216498507"/>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7330121" cy="48585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3" name="Slide Number Placeholder">
            <a:extLst>
              <a:ext uri="{FF2B5EF4-FFF2-40B4-BE49-F238E27FC236}">
                <a16:creationId xmlns:a16="http://schemas.microsoft.com/office/drawing/2014/main" id="{83C42FF5-9F71-397F-1A8E-DAE8D090EBF9}"/>
              </a:ext>
            </a:extLst>
          </p:cNvPr>
          <p:cNvSpPr>
            <a:spLocks noGrp="1"/>
          </p:cNvSpPr>
          <p:nvPr>
            <p:ph type="sldNum" sz="quarter" idx="12"/>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EC60AD40-13EB-0737-FFAF-EF2847553DC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91767616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4125" y="4648200"/>
            <a:ext cx="5524575" cy="1771650"/>
          </a:xfrm>
        </p:spPr>
        <p:txBody>
          <a:bodyPr anchor="b"/>
          <a:lstStyle>
            <a:lvl1pPr>
              <a:lnSpc>
                <a:spcPct val="90000"/>
              </a:lnSpc>
              <a:spcBef>
                <a:spcPts val="0"/>
              </a:spcBef>
              <a:defRPr sz="12897">
                <a:solidFill>
                  <a:schemeClr val="accent1"/>
                </a:solidFill>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a:solidFill>
                  <a:schemeClr val="accent1"/>
                </a:solidFill>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1681"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Slide Number Placeholder">
            <a:extLst>
              <a:ext uri="{FF2B5EF4-FFF2-40B4-BE49-F238E27FC236}">
                <a16:creationId xmlns:a16="http://schemas.microsoft.com/office/drawing/2014/main" id="{866DE497-EE98-1673-D389-C00D5C763926}"/>
              </a:ext>
            </a:extLst>
          </p:cNvPr>
          <p:cNvSpPr>
            <a:spLocks noGrp="1"/>
          </p:cNvSpPr>
          <p:nvPr>
            <p:ph type="sldNum" sz="quarter" idx="15"/>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42AC3948-CACF-C0FF-DC40-C4B82E5A66FE}"/>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149138354"/>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04276"/>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05863"/>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4263"/>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18113"/>
            <a:ext cx="2475384" cy="571500"/>
          </a:xfrm>
        </p:spPr>
        <p:txBody>
          <a:bodyPr anchor="b"/>
          <a:lstStyle>
            <a:lvl1pPr>
              <a:lnSpc>
                <a:spcPct val="120000"/>
              </a:lnSpc>
              <a:spcBef>
                <a:spcPts val="0"/>
              </a:spcBef>
              <a:defRPr sz="800" b="0" i="0">
                <a:solidFill>
                  <a:schemeClr val="tx1"/>
                </a:solidFill>
                <a:latin typeface="Arial" panose="020B0503050203000203" pitchFamily="34" charset="0"/>
              </a:defRPr>
            </a:lvl1pPr>
            <a:lvl2pPr marL="73137" indent="-73137">
              <a:lnSpc>
                <a:spcPct val="120000"/>
              </a:lnSpc>
              <a:spcBef>
                <a:spcPts val="0"/>
              </a:spcBef>
              <a:defRPr sz="800" b="0" i="0">
                <a:solidFill>
                  <a:schemeClr val="tx1"/>
                </a:solidFill>
                <a:latin typeface="Arial" panose="020B0503050203000203" pitchFamily="34" charset="0"/>
              </a:defRPr>
            </a:lvl2pPr>
            <a:lvl3pPr marL="146275" indent="-73137">
              <a:lnSpc>
                <a:spcPct val="120000"/>
              </a:lnSpc>
              <a:spcBef>
                <a:spcPts val="0"/>
              </a:spcBef>
              <a:defRPr sz="800" b="0" i="0">
                <a:solidFill>
                  <a:schemeClr val="tx1"/>
                </a:solidFill>
                <a:latin typeface="Arial" panose="020B0503050203000203" pitchFamily="34" charset="0"/>
              </a:defRPr>
            </a:lvl3pPr>
            <a:lvl4pPr marL="219412" indent="-73137">
              <a:lnSpc>
                <a:spcPct val="120000"/>
              </a:lnSpc>
              <a:spcBef>
                <a:spcPts val="0"/>
              </a:spcBef>
              <a:defRPr sz="800" b="0" i="0">
                <a:solidFill>
                  <a:schemeClr val="tx1"/>
                </a:solidFill>
                <a:latin typeface="Arial" panose="020B0503050203000203" pitchFamily="34" charset="0"/>
              </a:defRPr>
            </a:lvl4pPr>
            <a:lvl5pPr>
              <a:lnSpc>
                <a:spcPct val="120000"/>
              </a:lnSpc>
              <a:spcBef>
                <a:spcPts val="0"/>
              </a:spcBef>
              <a:defRPr sz="8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57569"/>
            <a:ext cx="2475384" cy="484549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58363"/>
            <a:ext cx="2476178" cy="48423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48034" y="1157570"/>
            <a:ext cx="2476178" cy="48423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FDA9F1E0-1917-18E8-47FF-E5A383A1D3DF}"/>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3AFB650C-B5C6-8F36-CDE9-74A4AAA45674}"/>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575375367"/>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26.11.20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45388323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999" y="192024"/>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024"/>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FF4D6136-DAAF-CC54-1C23-E6152378449F}"/>
              </a:ext>
            </a:extLst>
          </p:cNvPr>
          <p:cNvSpPr>
            <a:spLocks noGrp="1"/>
          </p:cNvSpPr>
          <p:nvPr>
            <p:ph type="sldNum" sz="quarter" idx="14"/>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888ED1E9-2B6F-6D74-6AEE-53794D61C893}"/>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59493570"/>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18113"/>
            <a:ext cx="2475384" cy="571500"/>
          </a:xfrm>
        </p:spPr>
        <p:txBody>
          <a:bodyPr anchor="b"/>
          <a:lstStyle>
            <a:lvl1pPr>
              <a:lnSpc>
                <a:spcPct val="120000"/>
              </a:lnSpc>
              <a:spcBef>
                <a:spcPts val="0"/>
              </a:spcBef>
              <a:defRPr sz="800" b="0" i="0">
                <a:latin typeface="Arial" panose="020B0503050203000203" pitchFamily="34" charset="0"/>
              </a:defRPr>
            </a:lvl1pPr>
            <a:lvl2pPr>
              <a:lnSpc>
                <a:spcPct val="120000"/>
              </a:lnSpc>
              <a:spcBef>
                <a:spcPts val="0"/>
              </a:spcBef>
              <a:defRPr sz="800" b="0" i="0">
                <a:latin typeface="Arial" panose="020B0503050203000203" pitchFamily="34" charset="0"/>
              </a:defRPr>
            </a:lvl2pPr>
            <a:lvl3pPr>
              <a:lnSpc>
                <a:spcPct val="120000"/>
              </a:lnSpc>
              <a:spcBef>
                <a:spcPts val="0"/>
              </a:spcBef>
              <a:defRPr sz="800" b="0" i="0">
                <a:latin typeface="Arial" panose="020B0503050203000203" pitchFamily="34" charset="0"/>
              </a:defRPr>
            </a:lvl3pPr>
            <a:lvl4pPr>
              <a:lnSpc>
                <a:spcPct val="120000"/>
              </a:lnSpc>
              <a:spcBef>
                <a:spcPts val="0"/>
              </a:spcBef>
              <a:defRPr sz="800" b="0" i="0">
                <a:latin typeface="Arial" panose="020B0503050203000203" pitchFamily="34" charset="0"/>
              </a:defRPr>
            </a:lvl4pPr>
            <a:lvl5pPr>
              <a:lnSpc>
                <a:spcPct val="120000"/>
              </a:lnSpc>
              <a:spcBef>
                <a:spcPts val="0"/>
              </a:spcBef>
              <a:defRPr sz="800" b="0" i="0">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495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pPr lvl="0"/>
            <a:r>
              <a:rPr lang="en-US" dirty="0"/>
              <a:t>00%</a:t>
            </a:r>
          </a:p>
        </p:txBody>
      </p:sp>
      <p:sp>
        <p:nvSpPr>
          <p:cNvPr id="6" name="Slide Number Placeholder">
            <a:extLst>
              <a:ext uri="{FF2B5EF4-FFF2-40B4-BE49-F238E27FC236}">
                <a16:creationId xmlns:a16="http://schemas.microsoft.com/office/drawing/2014/main" id="{F0902323-85DC-7AB5-4B75-491E4B4EFF15}"/>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DB94082E-2F97-CF80-1381-4C427642994F}"/>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45829280"/>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4CE44CEC-D7F5-784A-0B28-CC1DAF66F8B4}"/>
              </a:ext>
            </a:extLst>
          </p:cNvPr>
          <p:cNvSpPr>
            <a:spLocks noGrp="1"/>
          </p:cNvSpPr>
          <p:nvPr>
            <p:ph type="sldNum" sz="quarter" idx="15"/>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BF1541BB-8466-871B-C74F-EA10BB5F6A21}"/>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736481183"/>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6507" y="1714500"/>
            <a:ext cx="2475384"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BE0BE528-0BCE-80F4-D50E-93F4D42F484D}"/>
              </a:ext>
            </a:extLst>
          </p:cNvPr>
          <p:cNvSpPr>
            <a:spLocks noGrp="1"/>
          </p:cNvSpPr>
          <p:nvPr>
            <p:ph type="sldNum" sz="quarter" idx="20"/>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4889F4C4-8725-03A8-17BE-24CAE523C323}"/>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359215844"/>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83CE3527-A0C3-6502-3CF2-B0BE4AFFA5DB}"/>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0F3919F6-837B-9DA8-B217-AA741EB1E649}"/>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821052905"/>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GB"/>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6359"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4957"/>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4957"/>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6147"/>
            <a:ext cx="607997" cy="608076"/>
          </a:xfrm>
        </p:spPr>
        <p:txBody>
          <a:bodyPr anchor="ctr"/>
          <a:lstStyle>
            <a:lvl1pPr algn="ctr">
              <a:defRPr sz="800">
                <a:solidFill>
                  <a:schemeClr val="tx1"/>
                </a:solidFill>
              </a:defRPr>
            </a:lvl1pPr>
          </a:lstStyle>
          <a:p>
            <a:r>
              <a:rPr lang="en-US"/>
              <a:t>Pictogram</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0D848121-07DC-F29B-727C-EB812210813F}"/>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19CFF15E-CE32-103A-F46E-8E52D1F74080}"/>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464259469"/>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Arial" panose="020B0403050203000203" pitchFamily="34" charset="0"/>
              </a:defRPr>
            </a:lvl1pPr>
            <a:lvl2pPr marL="127990" indent="-127990">
              <a:spcBef>
                <a:spcPts val="0"/>
              </a:spcBef>
              <a:defRPr sz="1400" b="0" i="0">
                <a:solidFill>
                  <a:schemeClr val="tx1"/>
                </a:solidFill>
                <a:latin typeface="Arial" panose="020B0403050203000203" pitchFamily="34" charset="0"/>
              </a:defRPr>
            </a:lvl2pPr>
            <a:lvl3pPr marL="255981" indent="-127990">
              <a:spcBef>
                <a:spcPts val="0"/>
              </a:spcBef>
              <a:defRPr sz="1400" b="0" i="0">
                <a:solidFill>
                  <a:schemeClr val="tx1"/>
                </a:solidFill>
                <a:latin typeface="Arial" panose="020B0403050203000203" pitchFamily="34" charset="0"/>
              </a:defRPr>
            </a:lvl3pPr>
            <a:lvl4pPr marL="383971" indent="-127990">
              <a:spcBef>
                <a:spcPts val="0"/>
              </a:spcBef>
              <a:defRPr sz="1400" b="0" i="0">
                <a:solidFill>
                  <a:schemeClr val="tx1"/>
                </a:solidFill>
                <a:latin typeface="Arial" panose="020B0403050203000203" pitchFamily="34" charset="0"/>
              </a:defRPr>
            </a:lvl4pPr>
            <a:lvl5pPr>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Arial" panose="020B0403050203000203" pitchFamily="34" charset="0"/>
              </a:defRPr>
            </a:lvl1pPr>
            <a:lvl2pPr marL="127990" indent="-127990">
              <a:spcBef>
                <a:spcPts val="0"/>
              </a:spcBef>
              <a:defRPr sz="1400" b="0" i="0">
                <a:solidFill>
                  <a:schemeClr val="tx1"/>
                </a:solidFill>
                <a:latin typeface="Arial" panose="020B0403050203000203" pitchFamily="34" charset="0"/>
              </a:defRPr>
            </a:lvl2pPr>
            <a:lvl3pPr marL="255981" indent="-127990">
              <a:spcBef>
                <a:spcPts val="0"/>
              </a:spcBef>
              <a:defRPr sz="1400" b="0" i="0">
                <a:solidFill>
                  <a:schemeClr val="tx1"/>
                </a:solidFill>
                <a:latin typeface="Arial" panose="020B0403050203000203" pitchFamily="34" charset="0"/>
              </a:defRPr>
            </a:lvl3pPr>
            <a:lvl4pPr marL="383971" indent="-127990">
              <a:spcBef>
                <a:spcPts val="0"/>
              </a:spcBef>
              <a:defRPr sz="1400" b="0" i="0">
                <a:solidFill>
                  <a:schemeClr val="tx1"/>
                </a:solidFill>
                <a:latin typeface="Arial" panose="020B0403050203000203" pitchFamily="34" charset="0"/>
              </a:defRPr>
            </a:lvl4pPr>
            <a:lvl5pPr>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GB"/>
              <a:t>Click to edit Master text styles</a:t>
            </a:r>
          </a:p>
        </p:txBody>
      </p:sp>
      <p:sp>
        <p:nvSpPr>
          <p:cNvPr id="4" name="Slide Number Placeholder">
            <a:extLst>
              <a:ext uri="{FF2B5EF4-FFF2-40B4-BE49-F238E27FC236}">
                <a16:creationId xmlns:a16="http://schemas.microsoft.com/office/drawing/2014/main" id="{ABA0F9A6-52BD-AB95-5D53-8712F201B94C}"/>
              </a:ext>
            </a:extLst>
          </p:cNvPr>
          <p:cNvSpPr>
            <a:spLocks noGrp="1"/>
          </p:cNvSpPr>
          <p:nvPr>
            <p:ph type="sldNum" sz="quarter" idx="16"/>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B50472A9-7CB4-DD7B-51F1-E1AA44B8FD6E}"/>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10962700"/>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BA14F404-19CC-4A2A-B2D6-38CCF4D72050}"/>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2F4357C4-DB23-870B-8E78-7984F3E6276D}"/>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80750101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1400"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C7DF25CD-F682-D061-D11C-4F8A041122C9}"/>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65043089-A0CC-2553-F54D-A03B80205CC0}"/>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315087001"/>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BA940801-4F2D-CF57-653B-1F9FECA93C31}"/>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8206A13B-08E8-56AB-1F62-B43B1E0165EF}"/>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188519605"/>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26.11.2025</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5098887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Slide Number Placeholder">
            <a:extLst>
              <a:ext uri="{FF2B5EF4-FFF2-40B4-BE49-F238E27FC236}">
                <a16:creationId xmlns:a16="http://schemas.microsoft.com/office/drawing/2014/main" id="{3F1D5C82-F024-8732-28F1-BB9D41C29EE5}"/>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7" name="Footer Placeholder 1">
            <a:extLst>
              <a:ext uri="{FF2B5EF4-FFF2-40B4-BE49-F238E27FC236}">
                <a16:creationId xmlns:a16="http://schemas.microsoft.com/office/drawing/2014/main" id="{564DB0B2-38E3-7F64-A00F-CB00ED3802CE}"/>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48307920"/>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GB"/>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Arial" panose="020B0503050203000203" pitchFamily="34" charset="0"/>
              </a:defRPr>
            </a:lvl1pPr>
            <a:lvl2pPr marL="91422" indent="-91422">
              <a:lnSpc>
                <a:spcPct val="110000"/>
              </a:lnSpc>
              <a:spcBef>
                <a:spcPts val="0"/>
              </a:spcBef>
              <a:defRPr sz="1000" b="0" i="0">
                <a:solidFill>
                  <a:schemeClr val="tx1"/>
                </a:solidFill>
                <a:latin typeface="Arial" panose="020B0503050203000203" pitchFamily="34" charset="0"/>
              </a:defRPr>
            </a:lvl2pPr>
            <a:lvl3pPr marL="182843" indent="-91422">
              <a:lnSpc>
                <a:spcPct val="110000"/>
              </a:lnSpc>
              <a:spcBef>
                <a:spcPts val="0"/>
              </a:spcBef>
              <a:defRPr sz="1000" b="0" i="0">
                <a:solidFill>
                  <a:schemeClr val="tx1"/>
                </a:solidFill>
                <a:latin typeface="Arial" panose="020B0503050203000203" pitchFamily="34" charset="0"/>
              </a:defRPr>
            </a:lvl3pPr>
            <a:lvl4pPr marL="274265" indent="-91422">
              <a:lnSpc>
                <a:spcPct val="110000"/>
              </a:lnSpc>
              <a:spcBef>
                <a:spcPts val="0"/>
              </a:spcBef>
              <a:defRPr sz="1000" b="0" i="0">
                <a:solidFill>
                  <a:schemeClr val="tx1"/>
                </a:solidFill>
                <a:latin typeface="Arial" panose="020B0503050203000203" pitchFamily="34" charset="0"/>
              </a:defRPr>
            </a:lvl4pPr>
            <a:lvl5pPr>
              <a:lnSpc>
                <a:spcPct val="110000"/>
              </a:lnSpc>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Slide Number Placeholder">
            <a:extLst>
              <a:ext uri="{FF2B5EF4-FFF2-40B4-BE49-F238E27FC236}">
                <a16:creationId xmlns:a16="http://schemas.microsoft.com/office/drawing/2014/main" id="{AAF173D4-111F-08FB-6F15-03FE76632CC3}"/>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7" name="Footer Placeholder 1">
            <a:extLst>
              <a:ext uri="{FF2B5EF4-FFF2-40B4-BE49-F238E27FC236}">
                <a16:creationId xmlns:a16="http://schemas.microsoft.com/office/drawing/2014/main" id="{08828A82-D291-8B16-5972-76CF273136E6}"/>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133575064"/>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Arial" panose="020B0403050203000203" pitchFamily="34" charset="0"/>
              </a:defRPr>
            </a:lvl1pPr>
            <a:lvl2pPr marL="127990" indent="-127990">
              <a:spcBef>
                <a:spcPts val="0"/>
              </a:spcBef>
              <a:defRPr sz="1400" b="0" i="0">
                <a:solidFill>
                  <a:schemeClr val="tx1"/>
                </a:solidFill>
                <a:latin typeface="Arial" panose="020B0403050203000203" pitchFamily="34" charset="0"/>
              </a:defRPr>
            </a:lvl2pPr>
            <a:lvl3pPr marL="255981" indent="-127990">
              <a:spcBef>
                <a:spcPts val="0"/>
              </a:spcBef>
              <a:defRPr sz="1400" b="0" i="0">
                <a:solidFill>
                  <a:schemeClr val="tx1"/>
                </a:solidFill>
                <a:latin typeface="Arial" panose="020B0403050203000203" pitchFamily="34" charset="0"/>
              </a:defRPr>
            </a:lvl3pPr>
            <a:lvl4pPr marL="383971" indent="-127990">
              <a:spcBef>
                <a:spcPts val="0"/>
              </a:spcBef>
              <a:defRPr sz="1400" b="0" i="0">
                <a:solidFill>
                  <a:schemeClr val="tx1"/>
                </a:solidFill>
                <a:latin typeface="Arial" panose="020B0403050203000203" pitchFamily="34" charset="0"/>
              </a:defRPr>
            </a:lvl4pPr>
            <a:lvl5pPr>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Arial" panose="020B0503050203000203" pitchFamily="34" charset="0"/>
              </a:defRPr>
            </a:lvl1pPr>
            <a:lvl2pPr marL="91422" indent="-91422">
              <a:spcBef>
                <a:spcPts val="0"/>
              </a:spcBef>
              <a:defRPr sz="1000" b="0" i="0">
                <a:solidFill>
                  <a:schemeClr val="tx1"/>
                </a:solidFill>
                <a:latin typeface="Arial" panose="020B0503050203000203" pitchFamily="34" charset="0"/>
              </a:defRPr>
            </a:lvl2pPr>
            <a:lvl3pPr marL="182843" indent="-91422">
              <a:spcBef>
                <a:spcPts val="0"/>
              </a:spcBef>
              <a:defRPr sz="1000" b="0" i="0">
                <a:solidFill>
                  <a:schemeClr val="tx1"/>
                </a:solidFill>
                <a:latin typeface="Arial" panose="020B0503050203000203" pitchFamily="34" charset="0"/>
              </a:defRPr>
            </a:lvl3pPr>
            <a:lvl4pPr marL="274265" indent="-91422">
              <a:spcBef>
                <a:spcPts val="0"/>
              </a:spcBef>
              <a:defRPr sz="1000" b="0" i="0">
                <a:solidFill>
                  <a:schemeClr val="tx1"/>
                </a:solidFill>
                <a:latin typeface="Arial" panose="020B0503050203000203" pitchFamily="34" charset="0"/>
              </a:defRPr>
            </a:lvl4pPr>
            <a:lvl5pPr>
              <a:spcBef>
                <a:spcPts val="0"/>
              </a:spcBef>
              <a:defRPr sz="1000" b="0" i="0">
                <a:solidFill>
                  <a:schemeClr val="tx1"/>
                </a:solidFill>
                <a:latin typeface="Arial"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GB"/>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p:cNvSpPr>
          <p:nvPr>
            <p:ph type="pic" sz="quarter" idx="16" hasCustomPrompt="1"/>
          </p:nvPr>
        </p:nvSpPr>
        <p:spPr>
          <a:xfrm>
            <a:off x="6380919" y="288036"/>
            <a:ext cx="607997" cy="608076"/>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4D8CF00A-3D1B-57F2-D197-BBD43A284738}"/>
              </a:ext>
            </a:extLst>
          </p:cNvPr>
          <p:cNvSpPr>
            <a:spLocks noGrp="1"/>
          </p:cNvSpPr>
          <p:nvPr>
            <p:ph type="sldNum" sz="quarter" idx="18"/>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73956574-992C-27C9-9EA9-5EE3EE15238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814595661"/>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9680" y="288036"/>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9680" y="3238500"/>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Slide Number Placeholder">
            <a:extLst>
              <a:ext uri="{FF2B5EF4-FFF2-40B4-BE49-F238E27FC236}">
                <a16:creationId xmlns:a16="http://schemas.microsoft.com/office/drawing/2014/main" id="{3B1F784C-E5E4-A435-CEBE-D1F3D81B0D0D}"/>
              </a:ext>
            </a:extLst>
          </p:cNvPr>
          <p:cNvSpPr>
            <a:spLocks noGrp="1"/>
          </p:cNvSpPr>
          <p:nvPr>
            <p:ph type="sldNum" sz="quarter" idx="19"/>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4" name="Footer Placeholder 1">
            <a:extLst>
              <a:ext uri="{FF2B5EF4-FFF2-40B4-BE49-F238E27FC236}">
                <a16:creationId xmlns:a16="http://schemas.microsoft.com/office/drawing/2014/main" id="{96C95EE2-ED52-122F-277D-E86E53A0047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3946581"/>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GB"/>
              <a:t>Click to edit Master text styles</a:t>
            </a:r>
          </a:p>
        </p:txBody>
      </p:sp>
      <p:sp>
        <p:nvSpPr>
          <p:cNvPr id="4" name="Slide Number Placeholder">
            <a:extLst>
              <a:ext uri="{FF2B5EF4-FFF2-40B4-BE49-F238E27FC236}">
                <a16:creationId xmlns:a16="http://schemas.microsoft.com/office/drawing/2014/main" id="{A49D65AD-E9E3-F68F-1A66-41CC7E8965AE}"/>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E0DC31A2-1FD4-B9EA-E781-72B95797DEAB}"/>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715107224"/>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763524"/>
            <a:ext cx="5522194" cy="1138428"/>
          </a:xfrm>
        </p:spPr>
        <p:txBody>
          <a:bodyPr rIns="457200"/>
          <a:lstStyle>
            <a:lvl1pPr>
              <a:lnSpc>
                <a:spcPct val="110000"/>
              </a:lnSpc>
              <a:defRPr sz="3199">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GB"/>
              <a:t>Click to edit Master text styles</a:t>
            </a:r>
          </a:p>
        </p:txBody>
      </p:sp>
      <p:sp>
        <p:nvSpPr>
          <p:cNvPr id="4" name="Slide Number Placeholder">
            <a:extLst>
              <a:ext uri="{FF2B5EF4-FFF2-40B4-BE49-F238E27FC236}">
                <a16:creationId xmlns:a16="http://schemas.microsoft.com/office/drawing/2014/main" id="{166B1D46-B964-EDCF-404B-D69C657610B4}"/>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27FAAE0B-14A7-6FDD-116E-0CC3C2CBB635}"/>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271759574"/>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GB"/>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300" y="3328292"/>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463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C25EE579-951C-9D94-20A8-725D17E67BF2}"/>
              </a:ext>
            </a:extLst>
          </p:cNvPr>
          <p:cNvSpPr>
            <a:spLocks noGrp="1"/>
          </p:cNvSpPr>
          <p:nvPr>
            <p:ph type="sldNum" sz="quarter" idx="15"/>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11939F43-C24F-931F-4EE5-DFDF4D16613A}"/>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79256258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300" y="3328292"/>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463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E59AA7FA-15C1-9811-2E19-B2D1F105F40A}"/>
              </a:ext>
            </a:extLst>
          </p:cNvPr>
          <p:cNvSpPr>
            <a:spLocks noGrp="1"/>
          </p:cNvSpPr>
          <p:nvPr>
            <p:ph type="sldNum" sz="quarter" idx="15"/>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5" name="Footer Placeholder 1">
            <a:extLst>
              <a:ext uri="{FF2B5EF4-FFF2-40B4-BE49-F238E27FC236}">
                <a16:creationId xmlns:a16="http://schemas.microsoft.com/office/drawing/2014/main" id="{AA215A87-9130-F57B-4D69-117245DC47F2}"/>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867704367"/>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2554" y="3333750"/>
            <a:ext cx="2476178" cy="2476500"/>
          </a:xfrm>
        </p:spPr>
        <p:txBody>
          <a:bodyPr/>
          <a:lstStyle>
            <a:lvl1pPr>
              <a:lnSpc>
                <a:spcPct val="110000"/>
              </a:lnSpc>
              <a:spcBef>
                <a:spcPts val="0"/>
              </a:spcBef>
              <a:defRPr sz="1400" b="0" i="0">
                <a:solidFill>
                  <a:schemeClr val="tx1"/>
                </a:solidFill>
                <a:latin typeface="Arial" panose="020B0403050203000203" pitchFamily="34" charset="0"/>
              </a:defRPr>
            </a:lvl1pPr>
            <a:lvl2pPr marL="127990" indent="-127990">
              <a:lnSpc>
                <a:spcPct val="110000"/>
              </a:lnSpc>
              <a:spcBef>
                <a:spcPts val="0"/>
              </a:spcBef>
              <a:defRPr sz="1400" b="0" i="0">
                <a:solidFill>
                  <a:schemeClr val="tx1"/>
                </a:solidFill>
                <a:latin typeface="Arial" panose="020B0403050203000203" pitchFamily="34" charset="0"/>
              </a:defRPr>
            </a:lvl2pPr>
            <a:lvl3pPr marL="255981" indent="-127990">
              <a:lnSpc>
                <a:spcPct val="110000"/>
              </a:lnSpc>
              <a:spcBef>
                <a:spcPts val="0"/>
              </a:spcBef>
              <a:defRPr sz="1400" b="0" i="0">
                <a:solidFill>
                  <a:schemeClr val="tx1"/>
                </a:solidFill>
                <a:latin typeface="Arial" panose="020B0403050203000203" pitchFamily="34" charset="0"/>
              </a:defRPr>
            </a:lvl3pPr>
            <a:lvl4pPr marL="383971" indent="-127990">
              <a:lnSpc>
                <a:spcPct val="110000"/>
              </a:lnSpc>
              <a:spcBef>
                <a:spcPts val="0"/>
              </a:spcBef>
              <a:defRPr sz="1400" b="0" i="0">
                <a:solidFill>
                  <a:schemeClr val="tx1"/>
                </a:solidFill>
                <a:latin typeface="Arial" panose="020B0403050203000203" pitchFamily="34" charset="0"/>
              </a:defRPr>
            </a:lvl4pPr>
            <a:lvl5pPr>
              <a:lnSpc>
                <a:spcPct val="110000"/>
              </a:lnSpc>
              <a:spcBef>
                <a:spcPts val="0"/>
              </a:spcBef>
              <a:defRPr sz="1400" b="0" i="0">
                <a:solidFill>
                  <a:schemeClr val="tx1"/>
                </a:solidFill>
                <a:latin typeface="Arial"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Slide Number Placeholder">
            <a:extLst>
              <a:ext uri="{FF2B5EF4-FFF2-40B4-BE49-F238E27FC236}">
                <a16:creationId xmlns:a16="http://schemas.microsoft.com/office/drawing/2014/main" id="{F5A9AB81-576C-7A17-CE21-3BCF1958C5CB}"/>
              </a:ext>
            </a:extLst>
          </p:cNvPr>
          <p:cNvSpPr>
            <a:spLocks noGrp="1"/>
          </p:cNvSpPr>
          <p:nvPr>
            <p:ph type="sldNum" sz="quarter" idx="1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6" name="Footer Placeholder 1">
            <a:extLst>
              <a:ext uri="{FF2B5EF4-FFF2-40B4-BE49-F238E27FC236}">
                <a16:creationId xmlns:a16="http://schemas.microsoft.com/office/drawing/2014/main" id="{900C7D60-3953-C429-2F55-68185C0B2927}"/>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3979157037"/>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Placeholder">
            <a:extLst>
              <a:ext uri="{FF2B5EF4-FFF2-40B4-BE49-F238E27FC236}">
                <a16:creationId xmlns:a16="http://schemas.microsoft.com/office/drawing/2014/main" id="{BCE048A8-32F2-4350-EE68-54C4F60B5A98}"/>
              </a:ext>
            </a:extLst>
          </p:cNvPr>
          <p:cNvSpPr>
            <a:spLocks noGrp="1"/>
          </p:cNvSpPr>
          <p:nvPr>
            <p:ph type="sldNum" sz="quarter" idx="23"/>
          </p:nvPr>
        </p:nvSpPr>
        <p:spPr>
          <a:xfrm>
            <a:off x="11779666" y="6469419"/>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11" name="Footer Placeholder 1">
            <a:extLst>
              <a:ext uri="{FF2B5EF4-FFF2-40B4-BE49-F238E27FC236}">
                <a16:creationId xmlns:a16="http://schemas.microsoft.com/office/drawing/2014/main" id="{26051B2C-0FDF-0D97-F835-CD5A165266F3}"/>
              </a:ext>
            </a:extLst>
          </p:cNvPr>
          <p:cNvSpPr>
            <a:spLocks noGrp="1"/>
          </p:cNvSpPr>
          <p:nvPr>
            <p:ph type="ftr" sz="quarter" idx="3"/>
          </p:nvPr>
        </p:nvSpPr>
        <p:spPr>
          <a:xfrm>
            <a:off x="290474"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1368212034"/>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theme" Target="../theme/theme2.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54" Type="http://schemas.openxmlformats.org/officeDocument/2006/relationships/slideLayout" Target="../slideLayouts/slideLayout6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2.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slideLayout" Target="../slideLayouts/slideLayout116.xml"/><Relationship Id="rId55" Type="http://schemas.openxmlformats.org/officeDocument/2006/relationships/slideLayout" Target="../slideLayouts/slideLayout121.xml"/><Relationship Id="rId63" Type="http://schemas.openxmlformats.org/officeDocument/2006/relationships/slideLayout" Target="../slideLayouts/slideLayout12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slideLayout" Target="../slideLayouts/slideLayout119.xml"/><Relationship Id="rId58" Type="http://schemas.openxmlformats.org/officeDocument/2006/relationships/slideLayout" Target="../slideLayouts/slideLayout124.xml"/><Relationship Id="rId66" Type="http://schemas.openxmlformats.org/officeDocument/2006/relationships/slideLayout" Target="../slideLayouts/slideLayout132.xml"/><Relationship Id="rId5" Type="http://schemas.openxmlformats.org/officeDocument/2006/relationships/slideLayout" Target="../slideLayouts/slideLayout71.xml"/><Relationship Id="rId61" Type="http://schemas.openxmlformats.org/officeDocument/2006/relationships/slideLayout" Target="../slideLayouts/slideLayout127.xml"/><Relationship Id="rId19" Type="http://schemas.openxmlformats.org/officeDocument/2006/relationships/slideLayout" Target="../slideLayouts/slideLayout8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56" Type="http://schemas.openxmlformats.org/officeDocument/2006/relationships/slideLayout" Target="../slideLayouts/slideLayout122.xml"/><Relationship Id="rId64" Type="http://schemas.openxmlformats.org/officeDocument/2006/relationships/slideLayout" Target="../slideLayouts/slideLayout130.xml"/><Relationship Id="rId8" Type="http://schemas.openxmlformats.org/officeDocument/2006/relationships/slideLayout" Target="../slideLayouts/slideLayout74.xml"/><Relationship Id="rId51" Type="http://schemas.openxmlformats.org/officeDocument/2006/relationships/slideLayout" Target="../slideLayouts/slideLayout117.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59" Type="http://schemas.openxmlformats.org/officeDocument/2006/relationships/slideLayout" Target="../slideLayouts/slideLayout125.xml"/><Relationship Id="rId67" Type="http://schemas.openxmlformats.org/officeDocument/2006/relationships/theme" Target="../theme/theme3.xml"/><Relationship Id="rId20" Type="http://schemas.openxmlformats.org/officeDocument/2006/relationships/slideLayout" Target="../slideLayouts/slideLayout86.xml"/><Relationship Id="rId41" Type="http://schemas.openxmlformats.org/officeDocument/2006/relationships/slideLayout" Target="../slideLayouts/slideLayout107.xml"/><Relationship Id="rId54" Type="http://schemas.openxmlformats.org/officeDocument/2006/relationships/slideLayout" Target="../slideLayouts/slideLayout120.xml"/><Relationship Id="rId62" Type="http://schemas.openxmlformats.org/officeDocument/2006/relationships/slideLayout" Target="../slideLayouts/slideLayout12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 Id="rId57" Type="http://schemas.openxmlformats.org/officeDocument/2006/relationships/slideLayout" Target="../slideLayouts/slideLayout123.xml"/><Relationship Id="rId10" Type="http://schemas.openxmlformats.org/officeDocument/2006/relationships/slideLayout" Target="../slideLayouts/slideLayout76.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slideLayout" Target="../slideLayouts/slideLayout118.xml"/><Relationship Id="rId60" Type="http://schemas.openxmlformats.org/officeDocument/2006/relationships/slideLayout" Target="../slideLayouts/slideLayout126.xml"/><Relationship Id="rId65" Type="http://schemas.openxmlformats.org/officeDocument/2006/relationships/slideLayout" Target="../slideLayouts/slideLayout131.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9" Type="http://schemas.openxmlformats.org/officeDocument/2006/relationships/slideLayout" Target="../slideLayouts/slideLayout10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21" Type="http://schemas.openxmlformats.org/officeDocument/2006/relationships/slideLayout" Target="../slideLayouts/slideLayout153.xml"/><Relationship Id="rId34" Type="http://schemas.openxmlformats.org/officeDocument/2006/relationships/slideLayout" Target="../slideLayouts/slideLayout166.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theme" Target="../theme/theme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8" Type="http://schemas.openxmlformats.org/officeDocument/2006/relationships/slideLayout" Target="../slideLayouts/slideLayout140.xml"/><Relationship Id="rId3" Type="http://schemas.openxmlformats.org/officeDocument/2006/relationships/slideLayout" Target="../slideLayouts/slideLayout13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50" Type="http://schemas.openxmlformats.org/officeDocument/2006/relationships/slideLayout" Target="../slideLayouts/slideLayout218.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slideLayout" Target="../slideLayouts/slideLayout217.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52" Type="http://schemas.openxmlformats.org/officeDocument/2006/relationships/theme" Target="../theme/theme5.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8" Type="http://schemas.openxmlformats.org/officeDocument/2006/relationships/slideLayout" Target="../slideLayouts/slideLayout176.xml"/><Relationship Id="rId51" Type="http://schemas.openxmlformats.org/officeDocument/2006/relationships/slideLayout" Target="../slideLayouts/slideLayout219.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1" Type="http://schemas.openxmlformats.org/officeDocument/2006/relationships/slideLayout" Target="../slideLayouts/slideLayout169.xml"/><Relationship Id="rId6" Type="http://schemas.openxmlformats.org/officeDocument/2006/relationships/slideLayout" Target="../slideLayouts/slideLayout1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9" Type="http://schemas.openxmlformats.org/officeDocument/2006/relationships/slideLayout" Target="../slideLayouts/slideLayout258.xml"/><Relationship Id="rId21" Type="http://schemas.openxmlformats.org/officeDocument/2006/relationships/slideLayout" Target="../slideLayouts/slideLayout240.xml"/><Relationship Id="rId34" Type="http://schemas.openxmlformats.org/officeDocument/2006/relationships/slideLayout" Target="../slideLayouts/slideLayout253.xml"/><Relationship Id="rId42" Type="http://schemas.openxmlformats.org/officeDocument/2006/relationships/slideLayout" Target="../slideLayouts/slideLayout261.xml"/><Relationship Id="rId47" Type="http://schemas.openxmlformats.org/officeDocument/2006/relationships/slideLayout" Target="../slideLayouts/slideLayout266.xml"/><Relationship Id="rId50" Type="http://schemas.openxmlformats.org/officeDocument/2006/relationships/slideLayout" Target="../slideLayouts/slideLayout269.xml"/><Relationship Id="rId55" Type="http://schemas.openxmlformats.org/officeDocument/2006/relationships/slideLayout" Target="../slideLayouts/slideLayout274.xml"/><Relationship Id="rId7" Type="http://schemas.openxmlformats.org/officeDocument/2006/relationships/slideLayout" Target="../slideLayouts/slideLayout22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9" Type="http://schemas.openxmlformats.org/officeDocument/2006/relationships/slideLayout" Target="../slideLayouts/slideLayout248.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slideLayout" Target="../slideLayouts/slideLayout251.xml"/><Relationship Id="rId37" Type="http://schemas.openxmlformats.org/officeDocument/2006/relationships/slideLayout" Target="../slideLayouts/slideLayout256.xml"/><Relationship Id="rId40" Type="http://schemas.openxmlformats.org/officeDocument/2006/relationships/slideLayout" Target="../slideLayouts/slideLayout259.xml"/><Relationship Id="rId45" Type="http://schemas.openxmlformats.org/officeDocument/2006/relationships/slideLayout" Target="../slideLayouts/slideLayout264.xml"/><Relationship Id="rId53" Type="http://schemas.openxmlformats.org/officeDocument/2006/relationships/slideLayout" Target="../slideLayouts/slideLayout272.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31" Type="http://schemas.openxmlformats.org/officeDocument/2006/relationships/slideLayout" Target="../slideLayouts/slideLayout250.xml"/><Relationship Id="rId44" Type="http://schemas.openxmlformats.org/officeDocument/2006/relationships/slideLayout" Target="../slideLayouts/slideLayout263.xml"/><Relationship Id="rId52" Type="http://schemas.openxmlformats.org/officeDocument/2006/relationships/slideLayout" Target="../slideLayouts/slideLayout271.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slideLayout" Target="../slideLayouts/slideLayout249.xml"/><Relationship Id="rId35" Type="http://schemas.openxmlformats.org/officeDocument/2006/relationships/slideLayout" Target="../slideLayouts/slideLayout254.xml"/><Relationship Id="rId43" Type="http://schemas.openxmlformats.org/officeDocument/2006/relationships/slideLayout" Target="../slideLayouts/slideLayout262.xml"/><Relationship Id="rId48" Type="http://schemas.openxmlformats.org/officeDocument/2006/relationships/slideLayout" Target="../slideLayouts/slideLayout267.xml"/><Relationship Id="rId56" Type="http://schemas.openxmlformats.org/officeDocument/2006/relationships/theme" Target="../theme/theme6.xml"/><Relationship Id="rId8" Type="http://schemas.openxmlformats.org/officeDocument/2006/relationships/slideLayout" Target="../slideLayouts/slideLayout227.xml"/><Relationship Id="rId51" Type="http://schemas.openxmlformats.org/officeDocument/2006/relationships/slideLayout" Target="../slideLayouts/slideLayout270.xml"/><Relationship Id="rId3" Type="http://schemas.openxmlformats.org/officeDocument/2006/relationships/slideLayout" Target="../slideLayouts/slideLayout222.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33" Type="http://schemas.openxmlformats.org/officeDocument/2006/relationships/slideLayout" Target="../slideLayouts/slideLayout252.xml"/><Relationship Id="rId38" Type="http://schemas.openxmlformats.org/officeDocument/2006/relationships/slideLayout" Target="../slideLayouts/slideLayout257.xml"/><Relationship Id="rId46" Type="http://schemas.openxmlformats.org/officeDocument/2006/relationships/slideLayout" Target="../slideLayouts/slideLayout265.xml"/><Relationship Id="rId20" Type="http://schemas.openxmlformats.org/officeDocument/2006/relationships/slideLayout" Target="../slideLayouts/slideLayout239.xml"/><Relationship Id="rId41" Type="http://schemas.openxmlformats.org/officeDocument/2006/relationships/slideLayout" Target="../slideLayouts/slideLayout260.xml"/><Relationship Id="rId54" Type="http://schemas.openxmlformats.org/officeDocument/2006/relationships/slideLayout" Target="../slideLayouts/slideLayout273.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36" Type="http://schemas.openxmlformats.org/officeDocument/2006/relationships/slideLayout" Target="../slideLayouts/slideLayout255.xml"/><Relationship Id="rId49" Type="http://schemas.openxmlformats.org/officeDocument/2006/relationships/slideLayout" Target="../slideLayouts/slideLayout2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3EB3054-B75A-4BD7-8B3E-8DC0F614FAF3}" type="datetimeFigureOut">
              <a:rPr lang="de-DE" smtClean="0"/>
              <a:t>26.11.2025</a:t>
            </a:fld>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02006FE-6571-4354-8775-F8708372C227}" type="slidenum">
              <a:rPr lang="de-DE" smtClean="0"/>
              <a:t>‹#›</a:t>
            </a:fld>
            <a:endParaRPr lang="de-DE"/>
          </a:p>
        </p:txBody>
      </p:sp>
      <p:pic>
        <p:nvPicPr>
          <p:cNvPr id="8" name="Picture 7" descr="A black and white logo&#10;&#10;AI-generated content may be incorrect.">
            <a:extLst>
              <a:ext uri="{FF2B5EF4-FFF2-40B4-BE49-F238E27FC236}">
                <a16:creationId xmlns:a16="http://schemas.microsoft.com/office/drawing/2014/main" id="{B8B77110-A20F-EC23-9C3B-9D3E80526725}"/>
              </a:ext>
            </a:extLst>
          </p:cNvPr>
          <p:cNvPicPr>
            <a:picLocks noChangeAspect="1"/>
          </p:cNvPicPr>
          <p:nvPr userDrawn="1"/>
        </p:nvPicPr>
        <p:blipFill>
          <a:blip r:embed="rId14" cstate="print">
            <a:extLst>
              <a:ext uri="{28A0092B-C50C-407E-A947-70E740481C1C}">
                <a14:useLocalDpi xmlns:a14="http://schemas.microsoft.com/office/drawing/2010/main" val="0"/>
              </a:ext>
            </a:extLst>
          </a:blip>
          <a:srcRect l="16078" t="23223" r="17419" b="20634"/>
          <a:stretch>
            <a:fillRect/>
          </a:stretch>
        </p:blipFill>
        <p:spPr>
          <a:xfrm>
            <a:off x="11028793" y="6203155"/>
            <a:ext cx="971773" cy="546100"/>
          </a:xfrm>
          <a:prstGeom prst="rect">
            <a:avLst/>
          </a:prstGeom>
        </p:spPr>
      </p:pic>
      <p:pic>
        <p:nvPicPr>
          <p:cNvPr id="7" name="Picture 6" descr="A white letter on a black background&#10;&#10;AI-generated content may be incorrect.">
            <a:extLst>
              <a:ext uri="{FF2B5EF4-FFF2-40B4-BE49-F238E27FC236}">
                <a16:creationId xmlns:a16="http://schemas.microsoft.com/office/drawing/2014/main" id="{14CDBB16-1E55-4DE7-5FD8-37AA73C9EB2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012045" y="6314562"/>
            <a:ext cx="1709854" cy="314887"/>
          </a:xfrm>
          <a:prstGeom prst="rect">
            <a:avLst/>
          </a:prstGeom>
        </p:spPr>
      </p:pic>
      <p:sp>
        <p:nvSpPr>
          <p:cNvPr id="11" name="TextBox 10">
            <a:extLst>
              <a:ext uri="{FF2B5EF4-FFF2-40B4-BE49-F238E27FC236}">
                <a16:creationId xmlns:a16="http://schemas.microsoft.com/office/drawing/2014/main" id="{71756396-B87A-E48A-02CA-3C109948A478}"/>
              </a:ext>
            </a:extLst>
          </p:cNvPr>
          <p:cNvSpPr txBox="1"/>
          <p:nvPr userDrawn="1"/>
        </p:nvSpPr>
        <p:spPr>
          <a:xfrm>
            <a:off x="10686581" y="5527518"/>
            <a:ext cx="478016" cy="1323439"/>
          </a:xfrm>
          <a:prstGeom prst="rect">
            <a:avLst/>
          </a:prstGeom>
          <a:noFill/>
        </p:spPr>
        <p:txBody>
          <a:bodyPr wrap="none" rtlCol="0">
            <a:spAutoFit/>
          </a:bodyPr>
          <a:lstStyle/>
          <a:p>
            <a:r>
              <a:rPr lang="en-US" sz="8000">
                <a:solidFill>
                  <a:schemeClr val="bg1"/>
                </a:solidFill>
              </a:rPr>
              <a:t>.</a:t>
            </a:r>
            <a:endParaRPr lang="en-DE" sz="8000">
              <a:solidFill>
                <a:schemeClr val="bg1"/>
              </a:solidFill>
            </a:endParaRPr>
          </a:p>
        </p:txBody>
      </p:sp>
    </p:spTree>
    <p:extLst>
      <p:ext uri="{BB962C8B-B14F-4D97-AF65-F5344CB8AC3E}">
        <p14:creationId xmlns:p14="http://schemas.microsoft.com/office/powerpoint/2010/main" val="5947254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7585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503050203000203" pitchFamily="34" charset="0"/>
                <a:ea typeface="IBM Plex Sans Light"/>
                <a:cs typeface="IBM Plex Sans Light"/>
                <a:sym typeface="IBM Plex Sans Light"/>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2343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699"/>
            <a:ext cx="11293592" cy="44338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Tree>
    <p:extLst>
      <p:ext uri="{BB962C8B-B14F-4D97-AF65-F5344CB8AC3E}">
        <p14:creationId xmlns:p14="http://schemas.microsoft.com/office/powerpoint/2010/main" val="3934481050"/>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Lst>
  <p:transition spd="med"/>
  <p:hf sldNum="0" hdr="0" dt="0"/>
  <p:txStyles>
    <p:titleStyle>
      <a:lvl1pPr marL="0" marR="0" indent="0" algn="l" defTabSz="1218956" rtl="0" eaLnBrk="1" latinLnBrk="0" hangingPunct="1">
        <a:lnSpc>
          <a:spcPct val="100000"/>
        </a:lnSpc>
        <a:spcBef>
          <a:spcPts val="0"/>
        </a:spcBef>
        <a:spcAft>
          <a:spcPts val="0"/>
        </a:spcAft>
        <a:buClrTx/>
        <a:buSzTx/>
        <a:buFontTx/>
        <a:buNone/>
        <a:tabLst/>
        <a:defRPr sz="3399" b="0" i="0" u="none" strike="noStrike" cap="none" spc="0" baseline="0">
          <a:solidFill>
            <a:schemeClr val="tx2"/>
          </a:solidFill>
          <a:uFillTx/>
          <a:latin typeface="IBM Plex Sans Light"/>
          <a:ea typeface="IBM Plex Sans Light"/>
          <a:cs typeface="IBM Plex Sans Light"/>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IBM Plex Sans Light"/>
          <a:ea typeface="IBM Plex Sans Light"/>
          <a:cs typeface="IBM Plex Sans Light"/>
          <a:sym typeface="IBM Plex Sans Light"/>
        </a:defRPr>
      </a:lvl9pPr>
    </p:otherStyle>
  </p:txStyles>
  <p:extLst>
    <p:ext uri="{27BBF7A9-308A-43DC-89C8-2F10F3537804}">
      <p15:sldGuideLst xmlns:p15="http://schemas.microsoft.com/office/powerpoint/2012/main">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9" orient="horz" pos="3840">
          <p15:clr>
            <a:srgbClr val="EE5396"/>
          </p15:clr>
        </p15:guide>
        <p15:guide id="20" orient="horz" pos="958">
          <p15:clr>
            <a:srgbClr val="EE5396"/>
          </p15:clr>
        </p15:guide>
        <p15:guide id="25" orient="horz" pos="7682">
          <p15:clr>
            <a:srgbClr val="EE5396"/>
          </p15:clr>
        </p15:guide>
        <p15:guide id="26" pos="7680">
          <p15:clr>
            <a:srgbClr val="0F62FE"/>
          </p15:clr>
        </p15:guide>
        <p15:guide id="27" pos="11520">
          <p15:clr>
            <a:srgbClr val="0F62FE"/>
          </p15:clr>
        </p15:guide>
        <p15:guide id="30" orient="horz" pos="1918">
          <p15:clr>
            <a:srgbClr val="EE5396"/>
          </p15:clr>
        </p15:guide>
        <p15:guide id="32" orient="horz" pos="6720">
          <p15:clr>
            <a:srgbClr val="EE5396"/>
          </p15:clr>
        </p15:guide>
        <p15:guide id="33" orient="horz" pos="2880">
          <p15:clr>
            <a:srgbClr val="EE5396"/>
          </p15:clr>
        </p15:guide>
        <p15:guide id="34" orient="horz" pos="4800">
          <p15:clr>
            <a:srgbClr val="EE5396"/>
          </p15:clr>
        </p15:guide>
        <p15:guide id="35" orient="horz" pos="5758">
          <p15:clr>
            <a:srgbClr val="EE5396"/>
          </p15:clr>
        </p15:guide>
        <p15:guide id="36" orient="horz" pos="8284">
          <p15:clr>
            <a:srgbClr val="9FCC3B"/>
          </p15:clr>
        </p15:guide>
        <p15:guide id="37" orient="horz" pos="360">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C481EDAF-2AA9-11D9-470C-1204EE761EEC}"/>
              </a:ext>
            </a:extLst>
          </p:cNvPr>
          <p:cNvSpPr txBox="1">
            <a:spLocks noGrp="1"/>
          </p:cNvSpPr>
          <p:nvPr>
            <p:ph type="sldNum" sz="quarter" idx="4"/>
          </p:nvPr>
        </p:nvSpPr>
        <p:spPr>
          <a:xfrm>
            <a:off x="11778881" y="6468733"/>
            <a:ext cx="125819" cy="123111"/>
          </a:xfrm>
          <a:prstGeom prst="rect">
            <a:avLst/>
          </a:prstGeom>
          <a:ln w="12700">
            <a:miter lim="400000"/>
          </a:ln>
        </p:spPr>
        <p:txBody>
          <a:bodyPr wrap="none" lIns="0" tIns="0" rIns="0" bIns="0" anchor="ctr">
            <a:spAutoFit/>
          </a:bodyPr>
          <a:lstStyle>
            <a:lvl1pPr algn="r">
              <a:defRPr sz="800" b="0" i="0">
                <a:solidFill>
                  <a:schemeClr val="tx1"/>
                </a:solidFill>
                <a:latin typeface="Arial" panose="020B0604020202020204" pitchFamily="34" charset="0"/>
                <a:ea typeface="+mn-ea"/>
                <a:cs typeface="Arial" panose="020B0604020202020204" pitchFamily="34" charset="0"/>
                <a:sym typeface="Arial"/>
              </a:defRPr>
            </a:lvl1pPr>
          </a:lstStyle>
          <a:p>
            <a:fld id="{86CB4B4D-7CA3-9044-876B-883B54F8677D}" type="slidenum">
              <a:rPr lang="en-US" smtClean="0"/>
              <a:pPr/>
              <a:t>‹#›</a:t>
            </a:fld>
            <a:endParaRPr lang="en-US"/>
          </a:p>
        </p:txBody>
      </p:sp>
      <p:sp>
        <p:nvSpPr>
          <p:cNvPr id="4" name="Title Text">
            <a:extLst>
              <a:ext uri="{FF2B5EF4-FFF2-40B4-BE49-F238E27FC236}">
                <a16:creationId xmlns:a16="http://schemas.microsoft.com/office/drawing/2014/main" id="{47119183-6B75-ECAB-3483-906B5FA132CE}"/>
              </a:ext>
            </a:extLst>
          </p:cNvPr>
          <p:cNvSpPr txBox="1">
            <a:spLocks noGrp="1"/>
          </p:cNvSpPr>
          <p:nvPr>
            <p:ph type="title"/>
          </p:nvPr>
        </p:nvSpPr>
        <p:spPr>
          <a:xfrm>
            <a:off x="287300" y="274637"/>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5" name="Body Level One…">
            <a:extLst>
              <a:ext uri="{FF2B5EF4-FFF2-40B4-BE49-F238E27FC236}">
                <a16:creationId xmlns:a16="http://schemas.microsoft.com/office/drawing/2014/main" id="{D02EC89A-5068-D57E-46BA-7E17FF636605}"/>
              </a:ext>
            </a:extLst>
          </p:cNvPr>
          <p:cNvSpPr txBox="1">
            <a:spLocks noGrp="1"/>
          </p:cNvSpPr>
          <p:nvPr>
            <p:ph type="body" idx="1"/>
          </p:nvPr>
        </p:nvSpPr>
        <p:spPr>
          <a:xfrm>
            <a:off x="287300" y="1600200"/>
            <a:ext cx="11293592" cy="5257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6" name="Footer Placeholder 1">
            <a:extLst>
              <a:ext uri="{FF2B5EF4-FFF2-40B4-BE49-F238E27FC236}">
                <a16:creationId xmlns:a16="http://schemas.microsoft.com/office/drawing/2014/main" id="{EBC422FA-CDE7-AC89-A136-99FCB1F917FE}"/>
              </a:ext>
            </a:extLst>
          </p:cNvPr>
          <p:cNvSpPr>
            <a:spLocks noGrp="1"/>
          </p:cNvSpPr>
          <p:nvPr>
            <p:ph type="ftr" sz="quarter" idx="3"/>
          </p:nvPr>
        </p:nvSpPr>
        <p:spPr>
          <a:xfrm>
            <a:off x="290474" y="6400114"/>
            <a:ext cx="2477765" cy="190500"/>
          </a:xfrm>
          <a:prstGeom prst="rect">
            <a:avLst/>
          </a:prstGeom>
        </p:spPr>
        <p:txBody>
          <a:bodyPr vert="horz" lIns="0" tIns="0" rIns="0" bIns="0" rtlCol="0" anchor="b"/>
          <a:lstStyle>
            <a:lvl1pPr algn="l">
              <a:defRPr sz="800" b="0" i="0">
                <a:solidFill>
                  <a:schemeClr val="tx1"/>
                </a:solidFill>
                <a:latin typeface="Arial" panose="020B0604020202020204" pitchFamily="34" charset="0"/>
                <a:cs typeface="Arial" panose="020B0604020202020204" pitchFamily="34" charset="0"/>
              </a:defRPr>
            </a:lvl1pPr>
          </a:lstStyle>
          <a:p>
            <a:r>
              <a:rPr lang="en-US"/>
              <a:t>© 2025 cloudflight / IBM Corporation </a:t>
            </a:r>
          </a:p>
        </p:txBody>
      </p:sp>
    </p:spTree>
    <p:extLst>
      <p:ext uri="{BB962C8B-B14F-4D97-AF65-F5344CB8AC3E}">
        <p14:creationId xmlns:p14="http://schemas.microsoft.com/office/powerpoint/2010/main" val="2369789019"/>
      </p:ext>
    </p:extLst>
  </p:cSld>
  <p:clrMap bg1="dk1" tx1="lt1" bg2="dk2" tx2="lt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 id="2147483757" r:id="rId41"/>
    <p:sldLayoutId id="2147483758" r:id="rId42"/>
    <p:sldLayoutId id="2147483759" r:id="rId43"/>
    <p:sldLayoutId id="2147483760" r:id="rId44"/>
    <p:sldLayoutId id="2147483761" r:id="rId45"/>
    <p:sldLayoutId id="2147483762" r:id="rId46"/>
    <p:sldLayoutId id="2147483763" r:id="rId47"/>
    <p:sldLayoutId id="2147483764" r:id="rId48"/>
    <p:sldLayoutId id="2147483765" r:id="rId49"/>
    <p:sldLayoutId id="2147483766" r:id="rId50"/>
    <p:sldLayoutId id="2147483767" r:id="rId51"/>
    <p:sldLayoutId id="2147483768" r:id="rId52"/>
    <p:sldLayoutId id="2147483769" r:id="rId53"/>
    <p:sldLayoutId id="2147483770" r:id="rId54"/>
    <p:sldLayoutId id="2147483771" r:id="rId55"/>
    <p:sldLayoutId id="2147483772" r:id="rId56"/>
    <p:sldLayoutId id="2147483773" r:id="rId57"/>
    <p:sldLayoutId id="2147483774" r:id="rId58"/>
    <p:sldLayoutId id="2147483775" r:id="rId59"/>
    <p:sldLayoutId id="2147483776" r:id="rId60"/>
    <p:sldLayoutId id="2147483777" r:id="rId61"/>
    <p:sldLayoutId id="2147483778" r:id="rId62"/>
    <p:sldLayoutId id="2147483779" r:id="rId63"/>
    <p:sldLayoutId id="2147483780" r:id="rId64"/>
    <p:sldLayoutId id="2147483781" r:id="rId65"/>
    <p:sldLayoutId id="2147483782" r:id="rId66"/>
  </p:sldLayoutIdLst>
  <p:transition spd="med"/>
  <p:hf sldNum="0"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Arial" panose="020B0604020202020204" pitchFamily="34" charset="0"/>
          <a:ea typeface="+mj-ea"/>
          <a:cs typeface="Arial" panose="020B0604020202020204" pitchFamily="34" charset="0"/>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Arial" panose="020B0604020202020204" pitchFamily="34" charset="0"/>
          <a:ea typeface="+mj-ea"/>
          <a:cs typeface="Arial" panose="020B0604020202020204" pitchFamily="34" charset="0"/>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Arial" panose="020B0604020202020204" pitchFamily="34" charset="0"/>
          <a:ea typeface="+mj-ea"/>
          <a:cs typeface="Arial" panose="020B0604020202020204" pitchFamily="34" charset="0"/>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Arial" panose="020B0604020202020204" pitchFamily="34" charset="0"/>
          <a:ea typeface="+mj-ea"/>
          <a:cs typeface="Arial" panose="020B0604020202020204" pitchFamily="34" charset="0"/>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Arial" panose="020B0604020202020204" pitchFamily="34" charset="0"/>
          <a:ea typeface="+mj-ea"/>
          <a:cs typeface="Arial" panose="020B0604020202020204" pitchFamily="34" charset="0"/>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601">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607369904"/>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 id="2147483813" r:id="rId30"/>
    <p:sldLayoutId id="2147483814" r:id="rId31"/>
    <p:sldLayoutId id="2147483815" r:id="rId32"/>
    <p:sldLayoutId id="2147483816" r:id="rId33"/>
    <p:sldLayoutId id="2147483817" r:id="rId34"/>
    <p:sldLayoutId id="2147483818" r:id="rId35"/>
    <p:sldLayoutId id="2147483819" r:id="rId36"/>
  </p:sldLayoutIdLst>
  <p:hf sldNum="0" hdr="0" dt="0"/>
  <p:txStyles>
    <p:titleStyle>
      <a:lvl1pPr algn="l" rtl="0" eaLnBrk="1" fontAlgn="base" hangingPunct="1">
        <a:lnSpc>
          <a:spcPct val="90000"/>
        </a:lnSpc>
        <a:spcBef>
          <a:spcPct val="0"/>
        </a:spcBef>
        <a:spcAft>
          <a:spcPct val="0"/>
        </a:spcAft>
        <a:defRPr sz="32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b="0" i="0">
          <a:solidFill>
            <a:schemeClr val="tx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baseline="0">
          <a:solidFill>
            <a:schemeClr val="tx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07530" y="6469507"/>
            <a:ext cx="197170"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7677586"/>
      </p:ext>
    </p:extLst>
  </p:cSld>
  <p:clrMap bg1="dk1" tx1="lt1" bg2="dk2" tx2="lt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56" r:id="rId36"/>
    <p:sldLayoutId id="2147483857" r:id="rId37"/>
    <p:sldLayoutId id="2147483858" r:id="rId38"/>
    <p:sldLayoutId id="2147483859" r:id="rId39"/>
    <p:sldLayoutId id="2147483860" r:id="rId40"/>
    <p:sldLayoutId id="2147483861" r:id="rId41"/>
    <p:sldLayoutId id="2147483862" r:id="rId42"/>
    <p:sldLayoutId id="2147483863" r:id="rId43"/>
    <p:sldLayoutId id="2147483864" r:id="rId44"/>
    <p:sldLayoutId id="2147483865" r:id="rId45"/>
    <p:sldLayoutId id="2147483866" r:id="rId46"/>
    <p:sldLayoutId id="2147483867" r:id="rId47"/>
    <p:sldLayoutId id="2147483868" r:id="rId48"/>
    <p:sldLayoutId id="2147483869" r:id="rId49"/>
    <p:sldLayoutId id="2147483870" r:id="rId50"/>
    <p:sldLayoutId id="2147483871" r:id="rId51"/>
  </p:sldLayoutIdLst>
  <p:transition spd="med"/>
  <p:hf sldNum="0"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5 cloudflight / IBM Corporation </a:t>
            </a:r>
          </a:p>
        </p:txBody>
      </p:sp>
    </p:spTree>
    <p:extLst>
      <p:ext uri="{BB962C8B-B14F-4D97-AF65-F5344CB8AC3E}">
        <p14:creationId xmlns:p14="http://schemas.microsoft.com/office/powerpoint/2010/main" val="4082300729"/>
      </p:ext>
    </p:extLst>
  </p:cSld>
  <p:clrMap bg1="dk1" tx1="lt1" bg2="dk2" tx2="lt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 id="2147483908" r:id="rId36"/>
    <p:sldLayoutId id="2147483909" r:id="rId37"/>
    <p:sldLayoutId id="2147483910" r:id="rId38"/>
    <p:sldLayoutId id="2147483911" r:id="rId39"/>
    <p:sldLayoutId id="2147483912" r:id="rId40"/>
    <p:sldLayoutId id="2147483913" r:id="rId41"/>
    <p:sldLayoutId id="2147483914" r:id="rId42"/>
    <p:sldLayoutId id="2147483915" r:id="rId43"/>
    <p:sldLayoutId id="2147483916" r:id="rId44"/>
    <p:sldLayoutId id="2147483917" r:id="rId45"/>
    <p:sldLayoutId id="2147483918" r:id="rId46"/>
    <p:sldLayoutId id="2147483919" r:id="rId47"/>
    <p:sldLayoutId id="2147483920" r:id="rId48"/>
    <p:sldLayoutId id="2147483921" r:id="rId49"/>
    <p:sldLayoutId id="2147483922" r:id="rId50"/>
    <p:sldLayoutId id="2147483923" r:id="rId51"/>
    <p:sldLayoutId id="2147483924" r:id="rId52"/>
    <p:sldLayoutId id="2147483925" r:id="rId53"/>
    <p:sldLayoutId id="2147483926" r:id="rId54"/>
    <p:sldLayoutId id="2147483927" r:id="rId55"/>
  </p:sldLayoutIdLst>
  <p:transition spd="med"/>
  <p:hf sldNum="0"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svg"/><Relationship Id="rId2" Type="http://schemas.openxmlformats.org/officeDocument/2006/relationships/notesSlide" Target="../notesSlides/notesSlide6.xml"/><Relationship Id="rId1" Type="http://schemas.openxmlformats.org/officeDocument/2006/relationships/slideLayout" Target="../slideLayouts/slideLayout273.xml"/><Relationship Id="rId6" Type="http://schemas.openxmlformats.org/officeDocument/2006/relationships/image" Target="../media/image74.sv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82.png"/><Relationship Id="rId4" Type="http://schemas.openxmlformats.org/officeDocument/2006/relationships/image" Target="../media/image8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P3"/><Relationship Id="rId1" Type="http://schemas.microsoft.com/office/2007/relationships/media" Target="../media/media2.MP3"/><Relationship Id="rId5" Type="http://schemas.openxmlformats.org/officeDocument/2006/relationships/image" Target="../media/image82.png"/><Relationship Id="rId4" Type="http://schemas.openxmlformats.org/officeDocument/2006/relationships/image" Target="../media/image8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wav"/><Relationship Id="rId1" Type="http://schemas.microsoft.com/office/2007/relationships/media" Target="../media/media3.wav"/><Relationship Id="rId5" Type="http://schemas.openxmlformats.org/officeDocument/2006/relationships/image" Target="../media/image82.png"/><Relationship Id="rId4" Type="http://schemas.openxmlformats.org/officeDocument/2006/relationships/image" Target="../media/image84.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P3"/><Relationship Id="rId1" Type="http://schemas.microsoft.com/office/2007/relationships/media" Target="../media/media4.MP3"/><Relationship Id="rId5" Type="http://schemas.openxmlformats.org/officeDocument/2006/relationships/image" Target="../media/image82.png"/><Relationship Id="rId4" Type="http://schemas.openxmlformats.org/officeDocument/2006/relationships/image" Target="../media/image84.png"/></Relationships>
</file>

<file path=ppt/slides/_rels/slide1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wav"/><Relationship Id="rId1" Type="http://schemas.microsoft.com/office/2007/relationships/media" Target="../media/media3.wav"/><Relationship Id="rId5" Type="http://schemas.openxmlformats.org/officeDocument/2006/relationships/image" Target="../media/image82.png"/><Relationship Id="rId4" Type="http://schemas.openxmlformats.org/officeDocument/2006/relationships/image" Target="../media/image86.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P3"/><Relationship Id="rId1" Type="http://schemas.microsoft.com/office/2007/relationships/media" Target="../media/media5.MP3"/><Relationship Id="rId5" Type="http://schemas.openxmlformats.org/officeDocument/2006/relationships/image" Target="../media/image82.png"/><Relationship Id="rId4" Type="http://schemas.openxmlformats.org/officeDocument/2006/relationships/image" Target="../media/image86.jpe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59.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tiff"/><Relationship Id="rId7" Type="http://schemas.openxmlformats.org/officeDocument/2006/relationships/image" Target="../media/image21.tiff"/><Relationship Id="rId12"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28.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tiff"/><Relationship Id="rId10" Type="http://schemas.openxmlformats.org/officeDocument/2006/relationships/image" Target="../media/image24.png"/><Relationship Id="rId4" Type="http://schemas.openxmlformats.org/officeDocument/2006/relationships/image" Target="../media/image18.tiff"/><Relationship Id="rId9" Type="http://schemas.openxmlformats.org/officeDocument/2006/relationships/image" Target="../media/image23.tif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9.xml"/></Relationships>
</file>

<file path=ppt/slides/_rels/slide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66.xml"/></Relationships>
</file>

<file path=ppt/slides/_rels/slide7.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emf"/><Relationship Id="rId18" Type="http://schemas.openxmlformats.org/officeDocument/2006/relationships/image" Target="../media/image46.png"/><Relationship Id="rId26" Type="http://schemas.openxmlformats.org/officeDocument/2006/relationships/image" Target="../media/image54.png"/><Relationship Id="rId3" Type="http://schemas.openxmlformats.org/officeDocument/2006/relationships/image" Target="../media/image31.png"/><Relationship Id="rId21" Type="http://schemas.openxmlformats.org/officeDocument/2006/relationships/image" Target="../media/image49.png"/><Relationship Id="rId7" Type="http://schemas.openxmlformats.org/officeDocument/2006/relationships/image" Target="../media/image35.png"/><Relationship Id="rId12" Type="http://schemas.openxmlformats.org/officeDocument/2006/relationships/image" Target="../media/image40.svg"/><Relationship Id="rId17" Type="http://schemas.openxmlformats.org/officeDocument/2006/relationships/image" Target="../media/image45.png"/><Relationship Id="rId25" Type="http://schemas.openxmlformats.org/officeDocument/2006/relationships/image" Target="../media/image53.png"/><Relationship Id="rId2" Type="http://schemas.openxmlformats.org/officeDocument/2006/relationships/image" Target="../media/image30.png"/><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64.xml"/><Relationship Id="rId6" Type="http://schemas.openxmlformats.org/officeDocument/2006/relationships/image" Target="../media/image34.emf"/><Relationship Id="rId11" Type="http://schemas.openxmlformats.org/officeDocument/2006/relationships/image" Target="../media/image39.png"/><Relationship Id="rId24" Type="http://schemas.openxmlformats.org/officeDocument/2006/relationships/image" Target="../media/image52.png"/><Relationship Id="rId5" Type="http://schemas.openxmlformats.org/officeDocument/2006/relationships/image" Target="../media/image33.svg"/><Relationship Id="rId15" Type="http://schemas.openxmlformats.org/officeDocument/2006/relationships/image" Target="../media/image43.emf"/><Relationship Id="rId23" Type="http://schemas.openxmlformats.org/officeDocument/2006/relationships/image" Target="../media/image51.png"/><Relationship Id="rId10" Type="http://schemas.openxmlformats.org/officeDocument/2006/relationships/image" Target="../media/image38.sv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emf"/><Relationship Id="rId22" Type="http://schemas.openxmlformats.org/officeDocument/2006/relationships/image" Target="../media/image50.png"/><Relationship Id="rId27" Type="http://schemas.openxmlformats.org/officeDocument/2006/relationships/image" Target="../media/image55.jpeg"/></Relationships>
</file>

<file path=ppt/slides/_rels/slide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199.xml"/><Relationship Id="rId6" Type="http://schemas.openxmlformats.org/officeDocument/2006/relationships/image" Target="../media/image29.png"/><Relationship Id="rId5" Type="http://schemas.openxmlformats.org/officeDocument/2006/relationships/image" Target="../media/image58.emf"/><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image" Target="../media/image59.png"/><Relationship Id="rId1" Type="http://schemas.openxmlformats.org/officeDocument/2006/relationships/slideLayout" Target="../slideLayouts/slideLayout167.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1E7B8C32-1EC7-913F-30F0-8D9E4DF367E7}"/>
              </a:ext>
            </a:extLst>
          </p:cNvPr>
          <p:cNvSpPr/>
          <p:nvPr/>
        </p:nvSpPr>
        <p:spPr>
          <a:xfrm>
            <a:off x="581474" y="619704"/>
            <a:ext cx="9324526" cy="1842940"/>
          </a:xfrm>
          <a:prstGeom prst="roundRect">
            <a:avLst>
              <a:gd name="adj" fmla="val 12257"/>
            </a:avLst>
          </a:prstGeom>
          <a:solidFill>
            <a:schemeClr val="tx1">
              <a:alpha val="75000"/>
            </a:schemeClr>
          </a:solidFill>
          <a:ln w="38100">
            <a:solidFill>
              <a:srgbClr val="C8C88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TextBox 4">
            <a:extLst>
              <a:ext uri="{FF2B5EF4-FFF2-40B4-BE49-F238E27FC236}">
                <a16:creationId xmlns:a16="http://schemas.microsoft.com/office/drawing/2014/main" id="{602C4581-D0E4-A9A0-F1AB-CB07357034F4}"/>
              </a:ext>
            </a:extLst>
          </p:cNvPr>
          <p:cNvSpPr txBox="1"/>
          <p:nvPr/>
        </p:nvSpPr>
        <p:spPr>
          <a:xfrm>
            <a:off x="662940" y="879455"/>
            <a:ext cx="9903460" cy="1323439"/>
          </a:xfrm>
          <a:prstGeom prst="rect">
            <a:avLst/>
          </a:prstGeom>
          <a:noFill/>
        </p:spPr>
        <p:txBody>
          <a:bodyPr wrap="square">
            <a:spAutoFit/>
          </a:bodyPr>
          <a:lstStyle/>
          <a:p>
            <a:pPr>
              <a:buNone/>
            </a:pPr>
            <a:r>
              <a:rPr lang="en-US" sz="4400" dirty="0">
                <a:solidFill>
                  <a:schemeClr val="bg1"/>
                </a:solidFill>
                <a:effectLst/>
                <a:latin typeface="Arial" panose="020B0604020202020204" pitchFamily="34" charset="0"/>
                <a:cs typeface="Arial" panose="020B0604020202020204" pitchFamily="34" charset="0"/>
              </a:rPr>
              <a:t>🎖️</a:t>
            </a:r>
            <a:r>
              <a:rPr lang="en-US" sz="4400" dirty="0">
                <a:solidFill>
                  <a:srgbClr val="FFFAC4"/>
                </a:solidFill>
                <a:effectLst/>
                <a:latin typeface="Arial" panose="020B0604020202020204" pitchFamily="34" charset="0"/>
                <a:cs typeface="Arial" panose="020B0604020202020204" pitchFamily="34" charset="0"/>
              </a:rPr>
              <a:t>	</a:t>
            </a:r>
            <a:r>
              <a:rPr lang="en-US" sz="4400" dirty="0">
                <a:solidFill>
                  <a:srgbClr val="C8C889"/>
                </a:solidFill>
                <a:effectLst/>
                <a:latin typeface="Arial" panose="020B0604020202020204" pitchFamily="34" charset="0"/>
                <a:cs typeface="Arial" panose="020B0604020202020204" pitchFamily="34" charset="0"/>
              </a:rPr>
              <a:t>Welcome Space Cadets!</a:t>
            </a:r>
            <a:br>
              <a:rPr lang="en-US" sz="3600" dirty="0">
                <a:solidFill>
                  <a:schemeClr val="bg1"/>
                </a:solidFill>
                <a:effectLst/>
                <a:latin typeface="Arial" panose="020B0604020202020204" pitchFamily="34" charset="0"/>
                <a:cs typeface="Arial" panose="020B0604020202020204" pitchFamily="34" charset="0"/>
              </a:rPr>
            </a:br>
            <a:r>
              <a:rPr lang="en-US" sz="3600" dirty="0">
                <a:solidFill>
                  <a:schemeClr val="bg1"/>
                </a:solidFill>
                <a:effectLst/>
                <a:latin typeface="Arial" panose="020B0604020202020204" pitchFamily="34" charset="0"/>
                <a:cs typeface="Arial" panose="020B0604020202020204" pitchFamily="34" charset="0"/>
              </a:rPr>
              <a:t>	This is the Agentic AI Hackathon 2125</a:t>
            </a:r>
          </a:p>
        </p:txBody>
      </p:sp>
    </p:spTree>
    <p:extLst>
      <p:ext uri="{BB962C8B-B14F-4D97-AF65-F5344CB8AC3E}">
        <p14:creationId xmlns:p14="http://schemas.microsoft.com/office/powerpoint/2010/main" val="3221288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714BAB9D-1D98-4DE4-A3FF-ECE1B8388DCC}"/>
              </a:ext>
            </a:extLst>
          </p:cNvPr>
          <p:cNvSpPr txBox="1"/>
          <p:nvPr/>
        </p:nvSpPr>
        <p:spPr>
          <a:xfrm>
            <a:off x="8374046" y="1287615"/>
            <a:ext cx="3371885" cy="433965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rPr>
              <a:t>A toolkit for AI govern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rPr>
              <a:t>Govern any model across the entire AI lifecycle by consolidating multiple tools, applications and platforms while documenting the origin of data sets, models meta data and pipeli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IBM Plex Sans Light" panose="020B0403050203000203"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Times New Roman" panose="02020603050405020304" pitchFamily="18" charset="0"/>
              </a:rPr>
              <a:t>Manage risk and protect reputation by automating workflows to better detect fairness, bias and drif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Times New Roman" panose="02020603050405020304" pitchFamily="18" charset="0"/>
              </a:rPr>
              <a:t>Adhere to internal compliance standards</a:t>
            </a:r>
            <a:endParaRPr kumimoji="0" lang="en-US" sz="16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109" name="Group 108">
            <a:extLst>
              <a:ext uri="{FF2B5EF4-FFF2-40B4-BE49-F238E27FC236}">
                <a16:creationId xmlns:a16="http://schemas.microsoft.com/office/drawing/2014/main" id="{F8824776-6C29-6D7C-B4FA-BA577669BA17}"/>
              </a:ext>
            </a:extLst>
          </p:cNvPr>
          <p:cNvGrpSpPr/>
          <p:nvPr/>
        </p:nvGrpSpPr>
        <p:grpSpPr>
          <a:xfrm>
            <a:off x="275977" y="1499145"/>
            <a:ext cx="7955950" cy="4662985"/>
            <a:chOff x="275977" y="1348674"/>
            <a:chExt cx="7955950" cy="4662985"/>
          </a:xfrm>
        </p:grpSpPr>
        <p:sp>
          <p:nvSpPr>
            <p:cNvPr id="79" name="TextBox 78">
              <a:extLst>
                <a:ext uri="{FF2B5EF4-FFF2-40B4-BE49-F238E27FC236}">
                  <a16:creationId xmlns:a16="http://schemas.microsoft.com/office/drawing/2014/main" id="{6CBE893E-A904-DCD0-B085-571412772052}"/>
                </a:ext>
              </a:extLst>
            </p:cNvPr>
            <p:cNvSpPr txBox="1">
              <a:spLocks noChangeAspect="1"/>
            </p:cNvSpPr>
            <p:nvPr/>
          </p:nvSpPr>
          <p:spPr>
            <a:xfrm>
              <a:off x="818924" y="4995043"/>
              <a:ext cx="1417559" cy="461665"/>
            </a:xfrm>
            <a:prstGeom prst="rect">
              <a:avLst/>
            </a:prstGeom>
            <a:noFill/>
          </p:spPr>
          <p:txBody>
            <a:bodyPr wrap="square" rtlCol="0">
              <a:spAutoFit/>
            </a:bodyPr>
            <a:lstStyle/>
            <a:p>
              <a:pPr marL="0" marR="0" lvl="0" indent="0" algn="l"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Pre-deployment model evaluation</a:t>
              </a:r>
            </a:p>
          </p:txBody>
        </p:sp>
        <p:sp>
          <p:nvSpPr>
            <p:cNvPr id="80" name="TextBox 79">
              <a:extLst>
                <a:ext uri="{FF2B5EF4-FFF2-40B4-BE49-F238E27FC236}">
                  <a16:creationId xmlns:a16="http://schemas.microsoft.com/office/drawing/2014/main" id="{1B51D7C1-6328-441D-7AD7-3C7D8EFFEAD5}"/>
                </a:ext>
              </a:extLst>
            </p:cNvPr>
            <p:cNvSpPr txBox="1">
              <a:spLocks noChangeAspect="1"/>
            </p:cNvSpPr>
            <p:nvPr/>
          </p:nvSpPr>
          <p:spPr>
            <a:xfrm>
              <a:off x="275977" y="2988591"/>
              <a:ext cx="2089022" cy="276999"/>
            </a:xfrm>
            <a:prstGeom prst="rect">
              <a:avLst/>
            </a:prstGeom>
            <a:noFill/>
          </p:spPr>
          <p:txBody>
            <a:bodyPr wrap="square" rtlCol="0">
              <a:spAutoFit/>
            </a:bodyPr>
            <a:lstStyle/>
            <a:p>
              <a:pPr marL="0" marR="0" lvl="0" indent="0" algn="l"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Capture training meta-data</a:t>
              </a:r>
            </a:p>
          </p:txBody>
        </p:sp>
        <p:sp>
          <p:nvSpPr>
            <p:cNvPr id="81" name="Rectangle: Rounded Corners 53">
              <a:extLst>
                <a:ext uri="{FF2B5EF4-FFF2-40B4-BE49-F238E27FC236}">
                  <a16:creationId xmlns:a16="http://schemas.microsoft.com/office/drawing/2014/main" id="{5E86489B-AB0E-9B1C-1CBF-0B62A30E7F0F}"/>
                </a:ext>
              </a:extLst>
            </p:cNvPr>
            <p:cNvSpPr/>
            <p:nvPr/>
          </p:nvSpPr>
          <p:spPr>
            <a:xfrm>
              <a:off x="537509" y="1348674"/>
              <a:ext cx="3002551" cy="1020867"/>
            </a:xfrm>
            <a:prstGeom prst="roundRect">
              <a:avLst>
                <a:gd name="adj" fmla="val 8148"/>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731330" tIns="17995" rIns="274248" bIns="17995" rtlCol="0" anchor="ctr">
              <a:noAutofit/>
            </a:bodyPr>
            <a:lstStyle/>
            <a:p>
              <a:pPr marL="0" marR="0" lvl="0" indent="0" algn="ctr" defTabSz="342810"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odel inventory</a:t>
              </a:r>
            </a:p>
            <a:p>
              <a:pPr marL="0" marR="0" lvl="0" indent="0" algn="ctr" defTabSz="342810"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capture model facts throughout the lifecycle) </a:t>
              </a:r>
            </a:p>
          </p:txBody>
        </p:sp>
        <p:sp>
          <p:nvSpPr>
            <p:cNvPr id="82" name="Rectangle 59">
              <a:extLst>
                <a:ext uri="{FF2B5EF4-FFF2-40B4-BE49-F238E27FC236}">
                  <a16:creationId xmlns:a16="http://schemas.microsoft.com/office/drawing/2014/main" id="{F4D34914-471A-535E-07CD-F75B4E9B37AC}"/>
                </a:ext>
              </a:extLst>
            </p:cNvPr>
            <p:cNvSpPr/>
            <p:nvPr/>
          </p:nvSpPr>
          <p:spPr>
            <a:xfrm>
              <a:off x="2780367" y="4990792"/>
              <a:ext cx="3002551" cy="1020867"/>
            </a:xfrm>
            <a:prstGeom prst="roundRect">
              <a:avLst>
                <a:gd name="adj" fmla="val 6615"/>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731330" tIns="17995" rIns="274248" bIns="17995" rtlCol="0" anchor="ctr">
              <a:noAutofit/>
            </a:bodyPr>
            <a:lstStyle/>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Evaluation and monitoring</a:t>
              </a:r>
            </a:p>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accuracy, drift, bias, explainability)</a:t>
              </a:r>
            </a:p>
          </p:txBody>
        </p:sp>
        <p:sp>
          <p:nvSpPr>
            <p:cNvPr id="83" name="Rectangle 61">
              <a:extLst>
                <a:ext uri="{FF2B5EF4-FFF2-40B4-BE49-F238E27FC236}">
                  <a16:creationId xmlns:a16="http://schemas.microsoft.com/office/drawing/2014/main" id="{D26AD1F9-FC01-EA01-2868-29D56935D64F}"/>
                </a:ext>
              </a:extLst>
            </p:cNvPr>
            <p:cNvSpPr/>
            <p:nvPr/>
          </p:nvSpPr>
          <p:spPr>
            <a:xfrm>
              <a:off x="5057325" y="1348674"/>
              <a:ext cx="3002551" cy="1020867"/>
            </a:xfrm>
            <a:prstGeom prst="roundRect">
              <a:avLst>
                <a:gd name="adj" fmla="val 6615"/>
              </a:avLst>
            </a:prstGeom>
            <a:solidFill>
              <a:srgbClr val="E5F6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731330" tIns="17995" rIns="274248" bIns="17995" rtlCol="0" anchor="ctr">
              <a:noAutofit/>
            </a:bodyPr>
            <a:lstStyle/>
            <a:p>
              <a:pPr marL="0" marR="0" lvl="0" indent="0" algn="ctr" defTabSz="342810"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Model risk governance</a:t>
              </a:r>
            </a:p>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workflows, dashboards, incident management)</a:t>
              </a:r>
            </a:p>
          </p:txBody>
        </p:sp>
        <p:pic>
          <p:nvPicPr>
            <p:cNvPr id="84" name="Graphic 83" descr="Clipboard Checked outline">
              <a:extLst>
                <a:ext uri="{FF2B5EF4-FFF2-40B4-BE49-F238E27FC236}">
                  <a16:creationId xmlns:a16="http://schemas.microsoft.com/office/drawing/2014/main" id="{F881CD64-40B9-7ED1-BC54-C42F13BBA5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723" y="1633917"/>
              <a:ext cx="450383" cy="450383"/>
            </a:xfrm>
            <a:prstGeom prst="rect">
              <a:avLst/>
            </a:prstGeom>
          </p:spPr>
        </p:pic>
        <p:pic>
          <p:nvPicPr>
            <p:cNvPr id="85" name="Graphic 84" descr="Heart with pulse outline">
              <a:extLst>
                <a:ext uri="{FF2B5EF4-FFF2-40B4-BE49-F238E27FC236}">
                  <a16:creationId xmlns:a16="http://schemas.microsoft.com/office/drawing/2014/main" id="{67C505DF-AC9A-3C80-7367-50302467D3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05772" y="5282276"/>
              <a:ext cx="450383" cy="450383"/>
            </a:xfrm>
            <a:prstGeom prst="rect">
              <a:avLst/>
            </a:prstGeom>
          </p:spPr>
        </p:pic>
        <p:pic>
          <p:nvPicPr>
            <p:cNvPr id="86" name="Graphic 85" descr="Workflow outline">
              <a:extLst>
                <a:ext uri="{FF2B5EF4-FFF2-40B4-BE49-F238E27FC236}">
                  <a16:creationId xmlns:a16="http://schemas.microsoft.com/office/drawing/2014/main" id="{5BF2338F-51FF-4C75-2581-703A34B01A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72398" y="1625409"/>
              <a:ext cx="450383" cy="450383"/>
            </a:xfrm>
            <a:prstGeom prst="rect">
              <a:avLst/>
            </a:prstGeom>
          </p:spPr>
        </p:pic>
        <p:cxnSp>
          <p:nvCxnSpPr>
            <p:cNvPr id="87" name="Straight Arrow Connector 86">
              <a:extLst>
                <a:ext uri="{FF2B5EF4-FFF2-40B4-BE49-F238E27FC236}">
                  <a16:creationId xmlns:a16="http://schemas.microsoft.com/office/drawing/2014/main" id="{DFB3BCA4-D32A-53B7-6491-F19F8E9464FC}"/>
                </a:ext>
              </a:extLst>
            </p:cNvPr>
            <p:cNvCxnSpPr>
              <a:cxnSpLocks/>
              <a:stCxn id="102" idx="3"/>
              <a:endCxn id="105" idx="1"/>
            </p:cNvCxnSpPr>
            <p:nvPr/>
          </p:nvCxnSpPr>
          <p:spPr>
            <a:xfrm>
              <a:off x="3096093" y="3737727"/>
              <a:ext cx="2259321" cy="12153"/>
            </a:xfrm>
            <a:prstGeom prst="straightConnector1">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cxnSp>
          <p:nvCxnSpPr>
            <p:cNvPr id="88" name="Elbow Connector 147">
              <a:extLst>
                <a:ext uri="{FF2B5EF4-FFF2-40B4-BE49-F238E27FC236}">
                  <a16:creationId xmlns:a16="http://schemas.microsoft.com/office/drawing/2014/main" id="{870383AD-FC26-C109-E1F4-065DF29FF919}"/>
                </a:ext>
              </a:extLst>
            </p:cNvPr>
            <p:cNvCxnSpPr>
              <a:cxnSpLocks noChangeAspect="1"/>
              <a:stCxn id="82" idx="1"/>
              <a:endCxn id="107" idx="2"/>
            </p:cNvCxnSpPr>
            <p:nvPr/>
          </p:nvCxnSpPr>
          <p:spPr>
            <a:xfrm rot="10800000">
              <a:off x="727607" y="3966268"/>
              <a:ext cx="2052761" cy="1534959"/>
            </a:xfrm>
            <a:prstGeom prst="bentConnector2">
              <a:avLst/>
            </a:prstGeom>
            <a:ln w="25400">
              <a:solidFill>
                <a:srgbClr val="8D8D8D"/>
              </a:solidFill>
              <a:headEnd type="arrow" w="lg" len="med"/>
              <a:tailEnd type="none" w="lg" len="med"/>
            </a:ln>
          </p:spPr>
          <p:style>
            <a:lnRef idx="1">
              <a:schemeClr val="accent2"/>
            </a:lnRef>
            <a:fillRef idx="0">
              <a:schemeClr val="accent2"/>
            </a:fillRef>
            <a:effectRef idx="0">
              <a:schemeClr val="accent2"/>
            </a:effectRef>
            <a:fontRef idx="minor">
              <a:schemeClr val="tx1"/>
            </a:fontRef>
          </p:style>
        </p:cxnSp>
        <p:cxnSp>
          <p:nvCxnSpPr>
            <p:cNvPr id="89" name="Elbow Connector 148">
              <a:extLst>
                <a:ext uri="{FF2B5EF4-FFF2-40B4-BE49-F238E27FC236}">
                  <a16:creationId xmlns:a16="http://schemas.microsoft.com/office/drawing/2014/main" id="{7F249BAC-C82A-3349-7665-EA0E6EA0AF23}"/>
                </a:ext>
              </a:extLst>
            </p:cNvPr>
            <p:cNvCxnSpPr>
              <a:cxnSpLocks/>
              <a:stCxn id="105" idx="2"/>
              <a:endCxn id="82" idx="3"/>
            </p:cNvCxnSpPr>
            <p:nvPr/>
          </p:nvCxnSpPr>
          <p:spPr>
            <a:xfrm rot="5400000">
              <a:off x="5623958" y="4419095"/>
              <a:ext cx="1241091" cy="923170"/>
            </a:xfrm>
            <a:prstGeom prst="bentConnector2">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cxnSp>
          <p:nvCxnSpPr>
            <p:cNvPr id="90" name="Straight Arrow Connector 89">
              <a:extLst>
                <a:ext uri="{FF2B5EF4-FFF2-40B4-BE49-F238E27FC236}">
                  <a16:creationId xmlns:a16="http://schemas.microsoft.com/office/drawing/2014/main" id="{CB0B6193-8DB9-2D48-51D3-5A641A483DB7}"/>
                </a:ext>
              </a:extLst>
            </p:cNvPr>
            <p:cNvCxnSpPr>
              <a:cxnSpLocks/>
            </p:cNvCxnSpPr>
            <p:nvPr/>
          </p:nvCxnSpPr>
          <p:spPr>
            <a:xfrm flipV="1">
              <a:off x="4600841" y="2352527"/>
              <a:ext cx="1330153" cy="262504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1" name="TextBox 90">
              <a:extLst>
                <a:ext uri="{FF2B5EF4-FFF2-40B4-BE49-F238E27FC236}">
                  <a16:creationId xmlns:a16="http://schemas.microsoft.com/office/drawing/2014/main" id="{97687359-B0EE-35D9-4A33-A584BD635CCF}"/>
                </a:ext>
              </a:extLst>
            </p:cNvPr>
            <p:cNvSpPr txBox="1">
              <a:spLocks noChangeAspect="1"/>
            </p:cNvSpPr>
            <p:nvPr/>
          </p:nvSpPr>
          <p:spPr>
            <a:xfrm>
              <a:off x="3645225" y="4054671"/>
              <a:ext cx="1392735" cy="646331"/>
            </a:xfrm>
            <a:prstGeom prst="rect">
              <a:avLst/>
            </a:prstGeom>
            <a:noFill/>
          </p:spPr>
          <p:txBody>
            <a:bodyPr wrap="square" rtlCol="0">
              <a:sp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62626"/>
                  </a:solidFill>
                  <a:effectLst/>
                  <a:uLnTx/>
                  <a:uFillTx/>
                  <a:latin typeface="IBM Plex Sans Light"/>
                  <a:ea typeface="+mn-ea"/>
                  <a:cs typeface="+mn-cs"/>
                </a:rPr>
                <a:t>Capture model performance meta-data</a:t>
              </a:r>
            </a:p>
          </p:txBody>
        </p:sp>
        <p:sp>
          <p:nvSpPr>
            <p:cNvPr id="92" name="TextBox 91">
              <a:extLst>
                <a:ext uri="{FF2B5EF4-FFF2-40B4-BE49-F238E27FC236}">
                  <a16:creationId xmlns:a16="http://schemas.microsoft.com/office/drawing/2014/main" id="{42F8FBC7-8364-9B4B-C77F-BDF1B7C41CC8}"/>
                </a:ext>
              </a:extLst>
            </p:cNvPr>
            <p:cNvSpPr txBox="1">
              <a:spLocks noChangeAspect="1"/>
            </p:cNvSpPr>
            <p:nvPr/>
          </p:nvSpPr>
          <p:spPr>
            <a:xfrm>
              <a:off x="3463096" y="3431363"/>
              <a:ext cx="1877498" cy="276999"/>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marL="0" marR="0" lvl="0" indent="0" algn="ctr"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Deploy approved model</a:t>
              </a:r>
            </a:p>
          </p:txBody>
        </p:sp>
        <p:cxnSp>
          <p:nvCxnSpPr>
            <p:cNvPr id="93" name="Straight Arrow Connector 92">
              <a:extLst>
                <a:ext uri="{FF2B5EF4-FFF2-40B4-BE49-F238E27FC236}">
                  <a16:creationId xmlns:a16="http://schemas.microsoft.com/office/drawing/2014/main" id="{784DCF0D-46BB-2FD6-D67F-BB83CF12658E}"/>
                </a:ext>
              </a:extLst>
            </p:cNvPr>
            <p:cNvCxnSpPr>
              <a:cxnSpLocks/>
            </p:cNvCxnSpPr>
            <p:nvPr/>
          </p:nvCxnSpPr>
          <p:spPr>
            <a:xfrm flipH="1" flipV="1">
              <a:off x="2780192" y="2344608"/>
              <a:ext cx="1277595" cy="2614845"/>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332D6ED2-A761-1976-F85F-46CD4DFA361D}"/>
                </a:ext>
              </a:extLst>
            </p:cNvPr>
            <p:cNvCxnSpPr>
              <a:cxnSpLocks noChangeAspect="1"/>
            </p:cNvCxnSpPr>
            <p:nvPr/>
          </p:nvCxnSpPr>
          <p:spPr>
            <a:xfrm>
              <a:off x="3539095" y="2355289"/>
              <a:ext cx="1462659" cy="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5" name="TextBox 94">
              <a:extLst>
                <a:ext uri="{FF2B5EF4-FFF2-40B4-BE49-F238E27FC236}">
                  <a16:creationId xmlns:a16="http://schemas.microsoft.com/office/drawing/2014/main" id="{09D4C2D7-C2E7-BF21-3A6A-B80CE99D80CA}"/>
                </a:ext>
              </a:extLst>
            </p:cNvPr>
            <p:cNvSpPr txBox="1">
              <a:spLocks noChangeAspect="1"/>
            </p:cNvSpPr>
            <p:nvPr/>
          </p:nvSpPr>
          <p:spPr>
            <a:xfrm>
              <a:off x="3616957" y="1649833"/>
              <a:ext cx="1327293" cy="461665"/>
            </a:xfrm>
            <a:prstGeom prst="rect">
              <a:avLst/>
            </a:prstGeom>
            <a:noFill/>
          </p:spPr>
          <p:txBody>
            <a:bodyPr wrap="square" lIns="35990" rIns="35990" rtlCol="0">
              <a:sp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62626"/>
                  </a:solidFill>
                  <a:effectLst/>
                  <a:uLnTx/>
                  <a:uFillTx/>
                  <a:latin typeface="IBM Plex Sans Light"/>
                  <a:ea typeface="+mn-ea"/>
                  <a:cs typeface="+mn-cs"/>
                </a:rPr>
                <a:t>Sync model status and metadata</a:t>
              </a:r>
            </a:p>
          </p:txBody>
        </p:sp>
        <p:cxnSp>
          <p:nvCxnSpPr>
            <p:cNvPr id="96" name="Straight Arrow Connector 95">
              <a:extLst>
                <a:ext uri="{FF2B5EF4-FFF2-40B4-BE49-F238E27FC236}">
                  <a16:creationId xmlns:a16="http://schemas.microsoft.com/office/drawing/2014/main" id="{73885DD2-61D6-50F4-9CEA-CA51FC1AF0C4}"/>
                </a:ext>
              </a:extLst>
            </p:cNvPr>
            <p:cNvCxnSpPr>
              <a:cxnSpLocks noChangeAspect="1"/>
            </p:cNvCxnSpPr>
            <p:nvPr/>
          </p:nvCxnSpPr>
          <p:spPr>
            <a:xfrm flipH="1">
              <a:off x="3533303" y="1370336"/>
              <a:ext cx="1462659" cy="0"/>
            </a:xfrm>
            <a:prstGeom prst="straightConnector1">
              <a:avLst/>
            </a:prstGeom>
            <a:ln w="25400">
              <a:solidFill>
                <a:srgbClr val="8D8D8D"/>
              </a:solidFill>
              <a:prstDash val="solid"/>
              <a:headEnd w="lg" len="med"/>
              <a:tailEnd type="arrow" w="lg" len="med"/>
            </a:ln>
            <a:effectLst/>
          </p:spPr>
          <p:style>
            <a:lnRef idx="2">
              <a:schemeClr val="accent1"/>
            </a:lnRef>
            <a:fillRef idx="0">
              <a:schemeClr val="accent1"/>
            </a:fillRef>
            <a:effectRef idx="1">
              <a:schemeClr val="accent1"/>
            </a:effectRef>
            <a:fontRef idx="minor">
              <a:schemeClr val="tx1"/>
            </a:fontRef>
          </p:style>
        </p:cxnSp>
        <p:sp>
          <p:nvSpPr>
            <p:cNvPr id="97" name="TextBox 96">
              <a:extLst>
                <a:ext uri="{FF2B5EF4-FFF2-40B4-BE49-F238E27FC236}">
                  <a16:creationId xmlns:a16="http://schemas.microsoft.com/office/drawing/2014/main" id="{D7B58C51-2498-EBEA-4AE0-04222EDC103A}"/>
                </a:ext>
              </a:extLst>
            </p:cNvPr>
            <p:cNvSpPr txBox="1">
              <a:spLocks noChangeAspect="1"/>
            </p:cNvSpPr>
            <p:nvPr/>
          </p:nvSpPr>
          <p:spPr>
            <a:xfrm>
              <a:off x="5908322" y="5549994"/>
              <a:ext cx="1384705" cy="461665"/>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marL="0" marR="0" lvl="0" indent="0" algn="l"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Post-deployment model monitoring</a:t>
              </a:r>
            </a:p>
          </p:txBody>
        </p:sp>
        <p:cxnSp>
          <p:nvCxnSpPr>
            <p:cNvPr id="98" name="Elbow Connector 148">
              <a:extLst>
                <a:ext uri="{FF2B5EF4-FFF2-40B4-BE49-F238E27FC236}">
                  <a16:creationId xmlns:a16="http://schemas.microsoft.com/office/drawing/2014/main" id="{BAF28D99-FA22-76ED-BC54-B591449F7C70}"/>
                </a:ext>
              </a:extLst>
            </p:cNvPr>
            <p:cNvCxnSpPr>
              <a:cxnSpLocks/>
              <a:stCxn id="105" idx="0"/>
            </p:cNvCxnSpPr>
            <p:nvPr/>
          </p:nvCxnSpPr>
          <p:spPr>
            <a:xfrm rot="16200000" flipV="1">
              <a:off x="3311512" y="-154950"/>
              <a:ext cx="844120" cy="5945031"/>
            </a:xfrm>
            <a:prstGeom prst="bentConnector3">
              <a:avLst>
                <a:gd name="adj1" fmla="val 50000"/>
              </a:avLst>
            </a:prstGeom>
            <a:ln w="25400">
              <a:solidFill>
                <a:srgbClr val="8D8D8D"/>
              </a:solidFill>
              <a:headEnd w="lg" len="med"/>
              <a:tailEnd type="arrow" w="lg" len="med"/>
            </a:ln>
          </p:spPr>
          <p:style>
            <a:lnRef idx="1">
              <a:schemeClr val="accent2"/>
            </a:lnRef>
            <a:fillRef idx="0">
              <a:schemeClr val="accent2"/>
            </a:fillRef>
            <a:effectRef idx="0">
              <a:schemeClr val="accent2"/>
            </a:effectRef>
            <a:fontRef idx="minor">
              <a:schemeClr val="tx1"/>
            </a:fontRef>
          </p:style>
        </p:cxnSp>
        <p:sp>
          <p:nvSpPr>
            <p:cNvPr id="99" name="TextBox 98">
              <a:extLst>
                <a:ext uri="{FF2B5EF4-FFF2-40B4-BE49-F238E27FC236}">
                  <a16:creationId xmlns:a16="http://schemas.microsoft.com/office/drawing/2014/main" id="{2C742D84-E5F5-A7D3-B21F-7D57EB33CD04}"/>
                </a:ext>
              </a:extLst>
            </p:cNvPr>
            <p:cNvSpPr txBox="1">
              <a:spLocks noChangeAspect="1"/>
            </p:cNvSpPr>
            <p:nvPr/>
          </p:nvSpPr>
          <p:spPr>
            <a:xfrm>
              <a:off x="7147690" y="2580962"/>
              <a:ext cx="998568" cy="646331"/>
            </a:xfrm>
            <a:prstGeom prst="rect">
              <a:avLst/>
            </a:prstGeom>
            <a:noFill/>
          </p:spPr>
          <p:txBody>
            <a:bodyPr wrap="square" rtlCol="0">
              <a:spAutoFit/>
            </a:bodyPr>
            <a:lstStyle>
              <a:defPPr>
                <a:defRPr lang="en-US"/>
              </a:defPPr>
              <a:lvl1pPr marR="0" lvl="0" indent="0" defTabSz="685932" fontAlgn="auto">
                <a:lnSpc>
                  <a:spcPct val="100000"/>
                </a:lnSpc>
                <a:spcBef>
                  <a:spcPts val="0"/>
                </a:spcBef>
                <a:spcAft>
                  <a:spcPts val="0"/>
                </a:spcAft>
                <a:buClrTx/>
                <a:buSzTx/>
                <a:buFontTx/>
                <a:buNone/>
                <a:tabLst/>
                <a:defRPr kumimoji="0" sz="2400" b="0" i="0" u="none" strike="noStrike" cap="none" spc="0" normalizeH="0" baseline="0">
                  <a:ln>
                    <a:noFill/>
                  </a:ln>
                  <a:solidFill>
                    <a:srgbClr val="000000">
                      <a:lumMod val="85000"/>
                      <a:lumOff val="15000"/>
                    </a:srgbClr>
                  </a:solidFill>
                  <a:effectLst/>
                  <a:uLnTx/>
                  <a:uFillTx/>
                  <a:latin typeface="IBM Plex Sans Light"/>
                </a:defRPr>
              </a:lvl1pPr>
            </a:lstStyle>
            <a:p>
              <a:pPr marL="0" marR="0" lvl="0" indent="0" algn="l" defTabSz="34290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IBM Plex Sans Light"/>
                  <a:ea typeface="+mn-ea"/>
                  <a:cs typeface="+mn-cs"/>
                </a:rPr>
                <a:t>Capture deployment  meta-data</a:t>
              </a:r>
            </a:p>
          </p:txBody>
        </p:sp>
        <p:sp>
          <p:nvSpPr>
            <p:cNvPr id="100" name="Rectangle 60">
              <a:extLst>
                <a:ext uri="{FF2B5EF4-FFF2-40B4-BE49-F238E27FC236}">
                  <a16:creationId xmlns:a16="http://schemas.microsoft.com/office/drawing/2014/main" id="{FE7E1779-478B-9724-7A17-5049E99DBEEF}"/>
                </a:ext>
              </a:extLst>
            </p:cNvPr>
            <p:cNvSpPr>
              <a:spLocks noChangeAspect="1"/>
            </p:cNvSpPr>
            <p:nvPr/>
          </p:nvSpPr>
          <p:spPr>
            <a:xfrm>
              <a:off x="616248" y="3434393"/>
              <a:ext cx="2702295" cy="1020867"/>
            </a:xfrm>
            <a:prstGeom prst="roundRect">
              <a:avLst>
                <a:gd name="adj" fmla="val 8051"/>
              </a:avLst>
            </a:prstGeom>
            <a:solidFill>
              <a:schemeClr val="bg1">
                <a:lumMod val="85000"/>
              </a:schemeClr>
            </a:solidFill>
            <a:ln>
              <a:solidFill>
                <a:schemeClr val="bg1"/>
              </a:solidFill>
            </a:ln>
          </p:spPr>
          <p:txBody>
            <a:bodyPr wrap="square" lIns="134965" tIns="17995" rIns="44989" bIns="17995" rtlCol="0" anchor="ctr">
              <a:no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000000"/>
                </a:solidFill>
                <a:effectLst/>
                <a:uLnTx/>
                <a:uFillTx/>
                <a:latin typeface="IBM Plex Sans Light"/>
                <a:ea typeface="+mn-ea"/>
                <a:cs typeface="Arial"/>
              </a:endParaRPr>
            </a:p>
          </p:txBody>
        </p:sp>
        <p:sp>
          <p:nvSpPr>
            <p:cNvPr id="101" name="Rectangle 60">
              <a:extLst>
                <a:ext uri="{FF2B5EF4-FFF2-40B4-BE49-F238E27FC236}">
                  <a16:creationId xmlns:a16="http://schemas.microsoft.com/office/drawing/2014/main" id="{29F9BF49-C6BF-FC5D-03AA-EDCBA9229811}"/>
                </a:ext>
              </a:extLst>
            </p:cNvPr>
            <p:cNvSpPr>
              <a:spLocks noChangeAspect="1"/>
            </p:cNvSpPr>
            <p:nvPr/>
          </p:nvSpPr>
          <p:spPr>
            <a:xfrm>
              <a:off x="511619" y="3330842"/>
              <a:ext cx="2702295" cy="1020867"/>
            </a:xfrm>
            <a:prstGeom prst="roundRect">
              <a:avLst>
                <a:gd name="adj" fmla="val 8051"/>
              </a:avLst>
            </a:prstGeom>
            <a:solidFill>
              <a:schemeClr val="bg1">
                <a:lumMod val="85000"/>
              </a:schemeClr>
            </a:solidFill>
            <a:ln>
              <a:solidFill>
                <a:schemeClr val="bg1"/>
              </a:solidFill>
            </a:ln>
          </p:spPr>
          <p:txBody>
            <a:bodyPr wrap="square" lIns="134965" tIns="17995" rIns="44989" bIns="17995" rtlCol="0" anchor="ctr">
              <a:no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000000"/>
                </a:solidFill>
                <a:effectLst/>
                <a:uLnTx/>
                <a:uFillTx/>
                <a:latin typeface="IBM Plex Sans Light"/>
                <a:ea typeface="+mn-ea"/>
                <a:cs typeface="Arial"/>
              </a:endParaRPr>
            </a:p>
          </p:txBody>
        </p:sp>
        <p:sp>
          <p:nvSpPr>
            <p:cNvPr id="102" name="Rectangle 60">
              <a:extLst>
                <a:ext uri="{FF2B5EF4-FFF2-40B4-BE49-F238E27FC236}">
                  <a16:creationId xmlns:a16="http://schemas.microsoft.com/office/drawing/2014/main" id="{E2580632-D8B5-5D49-A577-994F5613002B}"/>
                </a:ext>
              </a:extLst>
            </p:cNvPr>
            <p:cNvSpPr>
              <a:spLocks noChangeAspect="1"/>
            </p:cNvSpPr>
            <p:nvPr/>
          </p:nvSpPr>
          <p:spPr>
            <a:xfrm>
              <a:off x="393798" y="3227293"/>
              <a:ext cx="2702295" cy="1020867"/>
            </a:xfrm>
            <a:prstGeom prst="roundRect">
              <a:avLst>
                <a:gd name="adj" fmla="val 8051"/>
              </a:avLst>
            </a:prstGeom>
            <a:solidFill>
              <a:schemeClr val="bg1">
                <a:lumMod val="85000"/>
              </a:schemeClr>
            </a:solidFill>
            <a:ln>
              <a:solidFill>
                <a:schemeClr val="bg1"/>
              </a:solidFill>
            </a:ln>
          </p:spPr>
          <p:txBody>
            <a:bodyPr wrap="square" lIns="197949" tIns="17995" rIns="53986" bIns="17995" rtlCol="0" anchor="ctr">
              <a:noAutofit/>
            </a:bodyPr>
            <a:lstStyle/>
            <a:p>
              <a:pPr marL="0" marR="0" lvl="0" indent="0" algn="ctr" defTabSz="342810"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Build</a:t>
              </a:r>
            </a:p>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IBM, AWS, MS, Other)</a:t>
              </a:r>
            </a:p>
          </p:txBody>
        </p:sp>
        <p:sp>
          <p:nvSpPr>
            <p:cNvPr id="103" name="Rectangle 60">
              <a:extLst>
                <a:ext uri="{FF2B5EF4-FFF2-40B4-BE49-F238E27FC236}">
                  <a16:creationId xmlns:a16="http://schemas.microsoft.com/office/drawing/2014/main" id="{DB8AE1E3-2CD3-3A22-5409-44F3A5668BD7}"/>
                </a:ext>
              </a:extLst>
            </p:cNvPr>
            <p:cNvSpPr>
              <a:spLocks/>
            </p:cNvSpPr>
            <p:nvPr/>
          </p:nvSpPr>
          <p:spPr>
            <a:xfrm>
              <a:off x="5548862" y="3450160"/>
              <a:ext cx="2683065" cy="1019290"/>
            </a:xfrm>
            <a:prstGeom prst="roundRect">
              <a:avLst>
                <a:gd name="adj" fmla="val 8051"/>
              </a:avLst>
            </a:prstGeom>
            <a:solidFill>
              <a:schemeClr val="bg1">
                <a:lumMod val="85000"/>
              </a:schemeClr>
            </a:solidFill>
            <a:ln>
              <a:solidFill>
                <a:schemeClr val="bg1"/>
              </a:solidFill>
            </a:ln>
          </p:spPr>
          <p:txBody>
            <a:bodyPr wrap="square" lIns="134965" tIns="17995" rIns="44989" bIns="17995" rtlCol="0" anchor="ctr">
              <a:no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000000"/>
                </a:solidFill>
                <a:effectLst/>
                <a:uLnTx/>
                <a:uFillTx/>
                <a:latin typeface="IBM Plex Sans Light"/>
                <a:ea typeface="+mn-ea"/>
                <a:cs typeface="Arial"/>
              </a:endParaRPr>
            </a:p>
          </p:txBody>
        </p:sp>
        <p:sp>
          <p:nvSpPr>
            <p:cNvPr id="104" name="Rectangle 60">
              <a:extLst>
                <a:ext uri="{FF2B5EF4-FFF2-40B4-BE49-F238E27FC236}">
                  <a16:creationId xmlns:a16="http://schemas.microsoft.com/office/drawing/2014/main" id="{61C8BC40-1F0B-74DE-779C-87FC52B2A48D}"/>
                </a:ext>
              </a:extLst>
            </p:cNvPr>
            <p:cNvSpPr>
              <a:spLocks/>
            </p:cNvSpPr>
            <p:nvPr/>
          </p:nvSpPr>
          <p:spPr>
            <a:xfrm>
              <a:off x="5444910" y="3346609"/>
              <a:ext cx="2701348" cy="1019290"/>
            </a:xfrm>
            <a:prstGeom prst="roundRect">
              <a:avLst>
                <a:gd name="adj" fmla="val 8051"/>
              </a:avLst>
            </a:prstGeom>
            <a:solidFill>
              <a:schemeClr val="bg1">
                <a:lumMod val="85000"/>
              </a:schemeClr>
            </a:solidFill>
            <a:ln>
              <a:solidFill>
                <a:schemeClr val="bg1"/>
              </a:solidFill>
            </a:ln>
          </p:spPr>
          <p:txBody>
            <a:bodyPr wrap="square" lIns="134965" tIns="17995" rIns="44989" bIns="17995" rtlCol="0" anchor="ctr">
              <a:noAutofit/>
            </a:bodyPr>
            <a:lstStyle/>
            <a:p>
              <a:pPr marL="0" marR="0" lvl="0" indent="0" algn="ctr" defTabSz="342902"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000000"/>
                </a:solidFill>
                <a:effectLst/>
                <a:uLnTx/>
                <a:uFillTx/>
                <a:latin typeface="IBM Plex Sans Light"/>
                <a:ea typeface="+mn-ea"/>
                <a:cs typeface="Arial"/>
              </a:endParaRPr>
            </a:p>
          </p:txBody>
        </p:sp>
        <p:sp>
          <p:nvSpPr>
            <p:cNvPr id="105" name="Rectangle 61">
              <a:extLst>
                <a:ext uri="{FF2B5EF4-FFF2-40B4-BE49-F238E27FC236}">
                  <a16:creationId xmlns:a16="http://schemas.microsoft.com/office/drawing/2014/main" id="{71187C38-9051-682F-4627-CB1D084B35B3}"/>
                </a:ext>
              </a:extLst>
            </p:cNvPr>
            <p:cNvSpPr>
              <a:spLocks noChangeAspect="1"/>
            </p:cNvSpPr>
            <p:nvPr/>
          </p:nvSpPr>
          <p:spPr>
            <a:xfrm>
              <a:off x="5355414" y="3239625"/>
              <a:ext cx="2701348" cy="1020510"/>
            </a:xfrm>
            <a:prstGeom prst="roundRect">
              <a:avLst>
                <a:gd name="adj" fmla="val 6615"/>
              </a:avLst>
            </a:prstGeom>
            <a:solidFill>
              <a:schemeClr val="bg1">
                <a:lumMod val="85000"/>
              </a:schemeClr>
            </a:solidFill>
            <a:ln>
              <a:solidFill>
                <a:schemeClr val="bg1"/>
              </a:solidFill>
            </a:ln>
          </p:spPr>
          <p:txBody>
            <a:bodyPr wrap="square" lIns="197949" tIns="17995" rIns="53986" bIns="17995" rtlCol="0" anchor="ctr">
              <a:noAutofit/>
            </a:bodyPr>
            <a:lstStyle/>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a:rPr>
                <a:t>Deploy</a:t>
              </a:r>
            </a:p>
            <a:p>
              <a:pPr marL="0" marR="0" lvl="0" indent="0" algn="ctr" defTabSz="342902" rtl="0" eaLnBrk="1" fontAlgn="auto" latinLnBrk="0" hangingPunct="1">
                <a:lnSpc>
                  <a:spcPct val="100000"/>
                </a:lnSpc>
                <a:spcBef>
                  <a:spcPts val="15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a:rPr>
                <a:t>(IBM, AWS, MS, Other)</a:t>
              </a:r>
            </a:p>
          </p:txBody>
        </p:sp>
        <p:pic>
          <p:nvPicPr>
            <p:cNvPr id="106" name="Graphic 105" descr="Rocket outline">
              <a:extLst>
                <a:ext uri="{FF2B5EF4-FFF2-40B4-BE49-F238E27FC236}">
                  <a16:creationId xmlns:a16="http://schemas.microsoft.com/office/drawing/2014/main" id="{9C4F976A-169E-3B14-8389-F58D2106BF9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8862" y="3524953"/>
              <a:ext cx="457080" cy="457080"/>
            </a:xfrm>
            <a:prstGeom prst="rect">
              <a:avLst/>
            </a:prstGeom>
          </p:spPr>
        </p:pic>
        <p:pic>
          <p:nvPicPr>
            <p:cNvPr id="107" name="Graphic 106" descr="Gears outline">
              <a:extLst>
                <a:ext uri="{FF2B5EF4-FFF2-40B4-BE49-F238E27FC236}">
                  <a16:creationId xmlns:a16="http://schemas.microsoft.com/office/drawing/2014/main" id="{224B99A3-F035-6EA2-523C-1B8C4DFDD9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9066" y="3509187"/>
              <a:ext cx="457080" cy="457080"/>
            </a:xfrm>
            <a:prstGeom prst="rect">
              <a:avLst/>
            </a:prstGeom>
          </p:spPr>
        </p:pic>
        <p:cxnSp>
          <p:nvCxnSpPr>
            <p:cNvPr id="108" name="Elbow Connector 107">
              <a:extLst>
                <a:ext uri="{FF2B5EF4-FFF2-40B4-BE49-F238E27FC236}">
                  <a16:creationId xmlns:a16="http://schemas.microsoft.com/office/drawing/2014/main" id="{ACF3108D-B137-51D3-EB45-42628445340C}"/>
                </a:ext>
              </a:extLst>
            </p:cNvPr>
            <p:cNvCxnSpPr>
              <a:stCxn id="102" idx="1"/>
              <a:endCxn id="81" idx="1"/>
            </p:cNvCxnSpPr>
            <p:nvPr/>
          </p:nvCxnSpPr>
          <p:spPr bwMode="auto">
            <a:xfrm rot="10800000" flipH="1">
              <a:off x="393797" y="1859109"/>
              <a:ext cx="143711" cy="1878619"/>
            </a:xfrm>
            <a:prstGeom prst="bentConnector3">
              <a:avLst>
                <a:gd name="adj1" fmla="val -159069"/>
              </a:avLst>
            </a:prstGeom>
            <a:ln w="25400">
              <a:solidFill>
                <a:srgbClr val="8D8D8D"/>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sp>
        <p:nvSpPr>
          <p:cNvPr id="5" name="Title 2">
            <a:extLst>
              <a:ext uri="{FF2B5EF4-FFF2-40B4-BE49-F238E27FC236}">
                <a16:creationId xmlns:a16="http://schemas.microsoft.com/office/drawing/2014/main" id="{D80625CC-E544-A3D1-3310-A5FB26BBA5C9}"/>
              </a:ext>
            </a:extLst>
          </p:cNvPr>
          <p:cNvSpPr txBox="1">
            <a:spLocks/>
          </p:cNvSpPr>
          <p:nvPr/>
        </p:nvSpPr>
        <p:spPr>
          <a:xfrm>
            <a:off x="369422" y="617021"/>
            <a:ext cx="11399842" cy="7719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IBM Plex Sans SmBld" panose="020B0503050203000203" pitchFamily="34" charset="0"/>
                <a:ea typeface="+mj-ea"/>
                <a:cs typeface="+mj-cs"/>
                <a:sym typeface="IBM Plex Sans Light"/>
              </a:rPr>
              <a:t>watson</a:t>
            </a:r>
            <a:r>
              <a:rPr kumimoji="0" lang="en-US" sz="2400" b="1" i="0" u="none" strike="noStrike" kern="0" cap="none" spc="0" normalizeH="0" baseline="0" noProof="0" dirty="0">
                <a:ln>
                  <a:noFill/>
                </a:ln>
                <a:solidFill>
                  <a:srgbClr val="0F62FE"/>
                </a:solidFill>
                <a:effectLst/>
                <a:uLnTx/>
                <a:uFillTx/>
                <a:latin typeface="IBM Plex Sans SmBld" panose="020B0503050203000203" pitchFamily="34" charset="0"/>
                <a:ea typeface="+mj-ea"/>
                <a:cs typeface="+mj-cs"/>
                <a:sym typeface="IBM Plex Sans Light"/>
              </a:rPr>
              <a:t>x</a:t>
            </a:r>
            <a:r>
              <a:rPr kumimoji="0" lang="en-US" sz="2400" b="1" i="0" u="none" strike="noStrike" kern="1200" cap="none" spc="0" normalizeH="0" baseline="0" noProof="0" dirty="0">
                <a:ln>
                  <a:noFill/>
                </a:ln>
                <a:solidFill>
                  <a:srgbClr val="000000"/>
                </a:solidFill>
                <a:effectLst/>
                <a:uLnTx/>
                <a:uFillTx/>
                <a:latin typeface="IBM Plex Sans SmBld" panose="020B0503050203000203" pitchFamily="34" charset="0"/>
                <a:ea typeface="+mj-ea"/>
                <a:cs typeface="+mj-cs"/>
                <a:sym typeface="IBM Plex Sans Light"/>
              </a:rPr>
              <a:t>.governance</a:t>
            </a:r>
            <a:endParaRPr kumimoji="0" lang="en-US" sz="2400" b="1" i="0" u="none" strike="noStrike" kern="1200" cap="none" spc="0" normalizeH="0" baseline="0" noProof="0" dirty="0">
              <a:ln>
                <a:noFill/>
              </a:ln>
              <a:solidFill>
                <a:srgbClr val="0F62FE"/>
              </a:solidFill>
              <a:effectLst/>
              <a:uLnTx/>
              <a:uFillTx/>
              <a:latin typeface="IBM Plex Sans SmBld" panose="020B0503050203000203" pitchFamily="34" charset="0"/>
              <a:ea typeface="+mj-ea"/>
              <a:cs typeface="+mj-cs"/>
              <a:sym typeface="IBM Plex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IBM Plex Sans Light"/>
                <a:ea typeface="+mj-ea"/>
                <a:cs typeface="Arial" panose="020B0604020202020204" pitchFamily="34" charset="0"/>
                <a:sym typeface="IBM Plex Sans Light"/>
              </a:rPr>
              <a:t>Trusted:   </a:t>
            </a:r>
            <a:r>
              <a:rPr kumimoji="0" lang="en-US" sz="2000" b="0" i="0" u="none" strike="noStrike" kern="1200" cap="none" spc="0" normalizeH="0" baseline="0" noProof="0" dirty="0">
                <a:ln>
                  <a:noFill/>
                </a:ln>
                <a:solidFill>
                  <a:srgbClr val="000000"/>
                </a:solidFill>
                <a:effectLst/>
                <a:uLnTx/>
                <a:uFillTx/>
                <a:latin typeface="IBM Plex Sans Light"/>
                <a:ea typeface="+mj-ea"/>
                <a:cs typeface="Arial" panose="020B0604020202020204" pitchFamily="34" charset="0"/>
                <a:sym typeface="IBM Plex Sans Light"/>
              </a:rPr>
              <a:t>Enable responsible, transparent and explainable AI workflows</a:t>
            </a:r>
            <a:endParaRPr kumimoji="0" lang="en-US" sz="20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6" name="Title 2">
            <a:extLst>
              <a:ext uri="{FF2B5EF4-FFF2-40B4-BE49-F238E27FC236}">
                <a16:creationId xmlns:a16="http://schemas.microsoft.com/office/drawing/2014/main" id="{F9EA2333-130F-CCA6-67EF-F1196BA67FAE}"/>
              </a:ext>
            </a:extLst>
          </p:cNvPr>
          <p:cNvSpPr txBox="1">
            <a:spLocks/>
          </p:cNvSpPr>
          <p:nvPr/>
        </p:nvSpPr>
        <p:spPr>
          <a:xfrm>
            <a:off x="380998" y="381002"/>
            <a:ext cx="2686293" cy="246590"/>
          </a:xfrm>
          <a:prstGeom prst="rect">
            <a:avLst/>
          </a:prstGeom>
        </p:spPr>
        <p:txBody>
          <a:bodyPr vert="horz" lIns="0" tIns="0" rIns="0" bIns="0" rtlCol="0" anchor="t">
            <a:noAutofit/>
          </a:bodyPr>
          <a:lstStyle>
            <a:lvl1pPr algn="l" rtl="0" eaLnBrk="1" fontAlgn="base" hangingPunct="1">
              <a:lnSpc>
                <a:spcPct val="100000"/>
              </a:lnSpc>
              <a:spcBef>
                <a:spcPts val="1800"/>
              </a:spcBef>
              <a:spcAft>
                <a:spcPct val="0"/>
              </a:spcAft>
              <a:defRPr sz="4000" b="0" i="0">
                <a:solidFill>
                  <a:schemeClr val="accent1"/>
                </a:solidFill>
                <a:latin typeface="IBM Plex Sans ExtLt" panose="020B03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3552">
                <a:solidFill>
                  <a:srgbClr val="191919"/>
                </a:solidFill>
                <a:latin typeface="IBM Plex Sans Light" pitchFamily="34" charset="0"/>
              </a:defRPr>
            </a:lvl2pPr>
            <a:lvl3pPr algn="l" rtl="0" eaLnBrk="1" fontAlgn="base" hangingPunct="1">
              <a:lnSpc>
                <a:spcPct val="90000"/>
              </a:lnSpc>
              <a:spcBef>
                <a:spcPct val="0"/>
              </a:spcBef>
              <a:spcAft>
                <a:spcPct val="0"/>
              </a:spcAft>
              <a:defRPr sz="3552">
                <a:solidFill>
                  <a:srgbClr val="191919"/>
                </a:solidFill>
                <a:latin typeface="IBM Plex Sans Light" pitchFamily="34" charset="0"/>
              </a:defRPr>
            </a:lvl3pPr>
            <a:lvl4pPr algn="l" rtl="0" eaLnBrk="1" fontAlgn="base" hangingPunct="1">
              <a:lnSpc>
                <a:spcPct val="90000"/>
              </a:lnSpc>
              <a:spcBef>
                <a:spcPct val="0"/>
              </a:spcBef>
              <a:spcAft>
                <a:spcPct val="0"/>
              </a:spcAft>
              <a:defRPr sz="3552">
                <a:solidFill>
                  <a:srgbClr val="191919"/>
                </a:solidFill>
                <a:latin typeface="IBM Plex Sans Light" pitchFamily="34" charset="0"/>
              </a:defRPr>
            </a:lvl4pPr>
            <a:lvl5pPr algn="l" rtl="0" eaLnBrk="1" fontAlgn="base" hangingPunct="1">
              <a:lnSpc>
                <a:spcPct val="90000"/>
              </a:lnSpc>
              <a:spcBef>
                <a:spcPct val="0"/>
              </a:spcBef>
              <a:spcAft>
                <a:spcPct val="0"/>
              </a:spcAft>
              <a:defRPr sz="3552">
                <a:solidFill>
                  <a:srgbClr val="191919"/>
                </a:solidFill>
                <a:latin typeface="IBM Plex Sans Light" pitchFamily="34" charset="0"/>
              </a:defRPr>
            </a:lvl5pPr>
            <a:lvl6pPr marL="580109" algn="l" rtl="0" eaLnBrk="1" fontAlgn="base" hangingPunct="1">
              <a:lnSpc>
                <a:spcPct val="90000"/>
              </a:lnSpc>
              <a:spcBef>
                <a:spcPct val="0"/>
              </a:spcBef>
              <a:spcAft>
                <a:spcPct val="0"/>
              </a:spcAft>
              <a:defRPr sz="3552">
                <a:solidFill>
                  <a:srgbClr val="191919"/>
                </a:solidFill>
                <a:latin typeface="IBM Plex Sans Light" pitchFamily="34" charset="0"/>
              </a:defRPr>
            </a:lvl6pPr>
            <a:lvl7pPr marL="1160222" algn="l" rtl="0" eaLnBrk="1" fontAlgn="base" hangingPunct="1">
              <a:lnSpc>
                <a:spcPct val="90000"/>
              </a:lnSpc>
              <a:spcBef>
                <a:spcPct val="0"/>
              </a:spcBef>
              <a:spcAft>
                <a:spcPct val="0"/>
              </a:spcAft>
              <a:defRPr sz="3552">
                <a:solidFill>
                  <a:srgbClr val="191919"/>
                </a:solidFill>
                <a:latin typeface="IBM Plex Sans Light" pitchFamily="34" charset="0"/>
              </a:defRPr>
            </a:lvl7pPr>
            <a:lvl8pPr marL="1740331" algn="l" rtl="0" eaLnBrk="1" fontAlgn="base" hangingPunct="1">
              <a:lnSpc>
                <a:spcPct val="90000"/>
              </a:lnSpc>
              <a:spcBef>
                <a:spcPct val="0"/>
              </a:spcBef>
              <a:spcAft>
                <a:spcPct val="0"/>
              </a:spcAft>
              <a:defRPr sz="3552">
                <a:solidFill>
                  <a:srgbClr val="191919"/>
                </a:solidFill>
                <a:latin typeface="IBM Plex Sans Light" pitchFamily="34" charset="0"/>
              </a:defRPr>
            </a:lvl8pPr>
            <a:lvl9pPr marL="2320442" algn="l" rtl="0" eaLnBrk="1" fontAlgn="base" hangingPunct="1">
              <a:lnSpc>
                <a:spcPct val="90000"/>
              </a:lnSpc>
              <a:spcBef>
                <a:spcPct val="0"/>
              </a:spcBef>
              <a:spcAft>
                <a:spcPct val="0"/>
              </a:spcAft>
              <a:defRPr sz="3552">
                <a:solidFill>
                  <a:srgbClr val="191919"/>
                </a:solidFill>
                <a:latin typeface="IBM Plex Sans Light" pitchFamily="34" charset="0"/>
              </a:defRPr>
            </a:lvl9pPr>
          </a:lstStyle>
          <a:p>
            <a:pPr marL="0" marR="0" lvl="0" indent="0" algn="l" defTabSz="761970" rtl="0" eaLnBrk="1" fontAlgn="base" latinLnBrk="0" hangingPunct="1">
              <a:lnSpc>
                <a:spcPct val="100000"/>
              </a:lnSpc>
              <a:spcBef>
                <a:spcPts val="1800"/>
              </a:spcBef>
              <a:spcAft>
                <a:spcPct val="0"/>
              </a:spcAft>
              <a:buClrTx/>
              <a:buSzTx/>
              <a:buFontTx/>
              <a:buNone/>
              <a:tabLst/>
              <a:defRPr/>
            </a:pPr>
            <a:r>
              <a:rPr kumimoji="0" lang="en-US" sz="1333" b="0" i="0" u="none" strike="noStrike" kern="0" cap="none" spc="0" normalizeH="0" baseline="0" noProof="0" dirty="0">
                <a:ln>
                  <a:noFill/>
                </a:ln>
                <a:solidFill>
                  <a:srgbClr val="000000"/>
                </a:solidFill>
                <a:effectLst/>
                <a:uLnTx/>
                <a:uFillTx/>
                <a:latin typeface="IBM Plex Sans Medm" panose="020B0503050203000203" pitchFamily="34" charset="0"/>
              </a:rPr>
              <a:t>What IBM offers</a:t>
            </a:r>
          </a:p>
        </p:txBody>
      </p:sp>
      <p:sp>
        <p:nvSpPr>
          <p:cNvPr id="7" name="Slide Number Placeholder 14">
            <a:extLst>
              <a:ext uri="{FF2B5EF4-FFF2-40B4-BE49-F238E27FC236}">
                <a16:creationId xmlns:a16="http://schemas.microsoft.com/office/drawing/2014/main" id="{EDDAB91D-80F1-1FD6-F746-74DE96D4DD8F}"/>
              </a:ext>
            </a:extLst>
          </p:cNvPr>
          <p:cNvSpPr txBox="1">
            <a:spLocks/>
          </p:cNvSpPr>
          <p:nvPr/>
        </p:nvSpPr>
        <p:spPr>
          <a:xfrm>
            <a:off x="11467070" y="6475769"/>
            <a:ext cx="437630" cy="19045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2" name="Footer Placeholder 1">
            <a:extLst>
              <a:ext uri="{FF2B5EF4-FFF2-40B4-BE49-F238E27FC236}">
                <a16:creationId xmlns:a16="http://schemas.microsoft.com/office/drawing/2014/main" id="{CD0E9D9C-DE72-EF05-CDE6-7BBFFD6F43BE}"/>
              </a:ext>
            </a:extLst>
          </p:cNvPr>
          <p:cNvSpPr>
            <a:spLocks noGrp="1"/>
          </p:cNvSpPr>
          <p:nvPr>
            <p:ph type="ftr" sz="quarter" idx="13"/>
          </p:nvPr>
        </p:nvSpPr>
        <p:spPr>
          <a:xfrm>
            <a:off x="275977" y="6380519"/>
            <a:ext cx="2477765" cy="1905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 2025 </a:t>
            </a:r>
            <a:r>
              <a:rPr kumimoji="0" lang="en-US" sz="800" b="0" i="0" u="none" strike="noStrike" kern="1200" cap="none" spc="0" normalizeH="0" baseline="0" noProof="0" dirty="0" err="1">
                <a:ln>
                  <a:noFill/>
                </a:ln>
                <a:solidFill>
                  <a:srgbClr val="000000"/>
                </a:solidFill>
                <a:effectLst/>
                <a:uLnTx/>
                <a:uFillTx/>
                <a:latin typeface="IBM Plex Sans Light" panose="020B0403050203000203" pitchFamily="34" charset="0"/>
                <a:ea typeface="+mn-ea"/>
                <a:cs typeface="+mn-cs"/>
              </a:rPr>
              <a:t>cloudflight</a:t>
            </a:r>
            <a:r>
              <a:rPr kumimoji="0" lang="en-US" sz="8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 / IBM Corporation </a:t>
            </a:r>
          </a:p>
        </p:txBody>
      </p:sp>
    </p:spTree>
    <p:extLst>
      <p:ext uri="{BB962C8B-B14F-4D97-AF65-F5344CB8AC3E}">
        <p14:creationId xmlns:p14="http://schemas.microsoft.com/office/powerpoint/2010/main" val="3298416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a:extLst>
            <a:ext uri="{FF2B5EF4-FFF2-40B4-BE49-F238E27FC236}">
              <a16:creationId xmlns:a16="http://schemas.microsoft.com/office/drawing/2014/main" id="{DEA8585D-9C71-0840-7CFF-7E4A3BB7104E}"/>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80F26A5A-FA2B-317A-252A-98A9B362941F}"/>
              </a:ext>
            </a:extLst>
          </p:cNvPr>
          <p:cNvSpPr/>
          <p:nvPr/>
        </p:nvSpPr>
        <p:spPr>
          <a:xfrm>
            <a:off x="581474" y="619704"/>
            <a:ext cx="9324526" cy="1842940"/>
          </a:xfrm>
          <a:prstGeom prst="roundRect">
            <a:avLst>
              <a:gd name="adj" fmla="val 12257"/>
            </a:avLst>
          </a:prstGeom>
          <a:solidFill>
            <a:schemeClr val="tx1">
              <a:alpha val="75000"/>
            </a:schemeClr>
          </a:solidFill>
          <a:ln w="38100">
            <a:solidFill>
              <a:srgbClr val="C8C88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5" name="TextBox 4">
            <a:extLst>
              <a:ext uri="{FF2B5EF4-FFF2-40B4-BE49-F238E27FC236}">
                <a16:creationId xmlns:a16="http://schemas.microsoft.com/office/drawing/2014/main" id="{2684C1F8-5289-6FD2-4217-FFEA71DF8C2E}"/>
              </a:ext>
            </a:extLst>
          </p:cNvPr>
          <p:cNvSpPr txBox="1"/>
          <p:nvPr/>
        </p:nvSpPr>
        <p:spPr>
          <a:xfrm>
            <a:off x="662940" y="879455"/>
            <a:ext cx="9903460" cy="1323439"/>
          </a:xfrm>
          <a:prstGeom prst="rect">
            <a:avLst/>
          </a:prstGeom>
          <a:noFill/>
        </p:spPr>
        <p:txBody>
          <a:bodyPr wrap="square">
            <a:spAutoFit/>
          </a:bodyPr>
          <a:lstStyle/>
          <a:p>
            <a:pPr>
              <a:buNone/>
            </a:pPr>
            <a:r>
              <a:rPr lang="en-US" sz="4400" dirty="0">
                <a:solidFill>
                  <a:schemeClr val="bg1"/>
                </a:solidFill>
                <a:effectLst/>
                <a:latin typeface="Arial" panose="020B0604020202020204" pitchFamily="34" charset="0"/>
                <a:cs typeface="Arial" panose="020B0604020202020204" pitchFamily="34" charset="0"/>
              </a:rPr>
              <a:t>🎖️</a:t>
            </a:r>
            <a:r>
              <a:rPr lang="en-US" sz="4400" dirty="0">
                <a:solidFill>
                  <a:srgbClr val="FFFAC4"/>
                </a:solidFill>
                <a:effectLst/>
                <a:latin typeface="Arial" panose="020B0604020202020204" pitchFamily="34" charset="0"/>
                <a:cs typeface="Arial" panose="020B0604020202020204" pitchFamily="34" charset="0"/>
              </a:rPr>
              <a:t>	</a:t>
            </a:r>
            <a:r>
              <a:rPr lang="en-US" sz="4400" dirty="0">
                <a:solidFill>
                  <a:srgbClr val="C8C889"/>
                </a:solidFill>
                <a:effectLst/>
                <a:latin typeface="Arial" panose="020B0604020202020204" pitchFamily="34" charset="0"/>
                <a:cs typeface="Arial" panose="020B0604020202020204" pitchFamily="34" charset="0"/>
              </a:rPr>
              <a:t>Welcome Space Cadets!</a:t>
            </a:r>
            <a:br>
              <a:rPr lang="en-US" sz="3600" dirty="0">
                <a:solidFill>
                  <a:schemeClr val="bg1"/>
                </a:solidFill>
                <a:effectLst/>
                <a:latin typeface="Arial" panose="020B0604020202020204" pitchFamily="34" charset="0"/>
                <a:cs typeface="Arial" panose="020B0604020202020204" pitchFamily="34" charset="0"/>
              </a:rPr>
            </a:br>
            <a:r>
              <a:rPr lang="en-US" sz="3600" dirty="0">
                <a:solidFill>
                  <a:schemeClr val="bg1"/>
                </a:solidFill>
                <a:effectLst/>
                <a:latin typeface="Arial" panose="020B0604020202020204" pitchFamily="34" charset="0"/>
                <a:cs typeface="Arial" panose="020B0604020202020204" pitchFamily="34" charset="0"/>
              </a:rPr>
              <a:t>	The story begins ..</a:t>
            </a:r>
          </a:p>
        </p:txBody>
      </p:sp>
    </p:spTree>
    <p:extLst>
      <p:ext uri="{BB962C8B-B14F-4D97-AF65-F5344CB8AC3E}">
        <p14:creationId xmlns:p14="http://schemas.microsoft.com/office/powerpoint/2010/main" val="1391223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AFEAE7C8-1A9D-76EE-0D3D-88B12F24AAB5}"/>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CBF1D2C-ADBE-790B-8F88-BAAD147099BC}"/>
              </a:ext>
            </a:extLst>
          </p:cNvPr>
          <p:cNvSpPr/>
          <p:nvPr/>
        </p:nvSpPr>
        <p:spPr>
          <a:xfrm>
            <a:off x="5080000" y="879941"/>
            <a:ext cx="6550846" cy="3336459"/>
          </a:xfrm>
          <a:prstGeom prst="roundRect">
            <a:avLst>
              <a:gd name="adj" fmla="val 7836"/>
            </a:avLst>
          </a:prstGeom>
          <a:solidFill>
            <a:schemeClr val="tx1">
              <a:alpha val="71000"/>
            </a:schemeClr>
          </a:solidFill>
          <a:ln w="38100">
            <a:solidFill>
              <a:srgbClr val="6A439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6" name="TextBox 5">
            <a:extLst>
              <a:ext uri="{FF2B5EF4-FFF2-40B4-BE49-F238E27FC236}">
                <a16:creationId xmlns:a16="http://schemas.microsoft.com/office/drawing/2014/main" id="{654D230E-41C4-13A1-31B4-2EA9C8B92554}"/>
              </a:ext>
            </a:extLst>
          </p:cNvPr>
          <p:cNvSpPr txBox="1"/>
          <p:nvPr/>
        </p:nvSpPr>
        <p:spPr>
          <a:xfrm>
            <a:off x="5183954" y="1017311"/>
            <a:ext cx="6550846" cy="2985433"/>
          </a:xfrm>
          <a:prstGeom prst="rect">
            <a:avLst/>
          </a:prstGeom>
          <a:noFill/>
        </p:spPr>
        <p:txBody>
          <a:bodyPr wrap="square" lIns="91440" tIns="45720" rIns="91440" bIns="45720" anchor="t">
            <a:spAutoFit/>
          </a:bodyPr>
          <a:lstStyle/>
          <a:p>
            <a:pPr algn="l">
              <a:spcAft>
                <a:spcPts val="1200"/>
              </a:spcAft>
              <a:buNone/>
            </a:pPr>
            <a:r>
              <a:rPr lang="en-US" sz="4400" i="0" dirty="0">
                <a:solidFill>
                  <a:srgbClr val="FFFF00"/>
                </a:solidFill>
                <a:effectLst/>
                <a:latin typeface="Arial" panose="020B0604020202020204" pitchFamily="34" charset="0"/>
                <a:cs typeface="Arial" panose="020B0604020202020204" pitchFamily="34" charset="0"/>
              </a:rPr>
              <a:t>👾</a:t>
            </a:r>
            <a:r>
              <a:rPr lang="en-US" sz="4400" i="0" dirty="0">
                <a:solidFill>
                  <a:srgbClr val="FFF69F"/>
                </a:solidFill>
                <a:effectLst/>
                <a:latin typeface="Arial" panose="020B0604020202020204" pitchFamily="34" charset="0"/>
                <a:cs typeface="Arial" panose="020B0604020202020204" pitchFamily="34" charset="0"/>
              </a:rPr>
              <a:t>Story</a:t>
            </a:r>
          </a:p>
          <a:p>
            <a:pPr>
              <a:spcBef>
                <a:spcPts val="1200"/>
              </a:spcBef>
              <a:spcAft>
                <a:spcPts val="1200"/>
              </a:spcAft>
            </a:pPr>
            <a:r>
              <a:rPr lang="en-US" sz="2600" i="0" dirty="0">
                <a:solidFill>
                  <a:schemeClr val="bg1"/>
                </a:solidFill>
                <a:effectLst/>
                <a:latin typeface="Arial"/>
                <a:cs typeface="Arial"/>
              </a:rPr>
              <a:t>    </a:t>
            </a:r>
            <a:r>
              <a:rPr lang="en-US" sz="2600" i="0" dirty="0">
                <a:solidFill>
                  <a:schemeClr val="bg1"/>
                </a:solidFill>
                <a:latin typeface="Arial"/>
                <a:cs typeface="Arial"/>
              </a:rPr>
              <a:t>The year is 2125</a:t>
            </a:r>
            <a:r>
              <a:rPr lang="en-US" sz="2600" dirty="0">
                <a:solidFill>
                  <a:schemeClr val="bg1"/>
                </a:solidFill>
                <a:latin typeface="Arial"/>
                <a:cs typeface="Arial"/>
              </a:rPr>
              <a:t> (...)</a:t>
            </a:r>
            <a:endParaRPr lang="en-US" sz="2600" i="0" dirty="0">
              <a:solidFill>
                <a:schemeClr val="bg1"/>
              </a:solidFill>
              <a:latin typeface="Arial" panose="020B0604020202020204" pitchFamily="34" charset="0"/>
              <a:cs typeface="Arial" panose="020B0604020202020204" pitchFamily="34" charset="0"/>
            </a:endParaRPr>
          </a:p>
          <a:p>
            <a:pPr algn="l">
              <a:spcBef>
                <a:spcPts val="1200"/>
              </a:spcBef>
              <a:spcAft>
                <a:spcPts val="1200"/>
              </a:spcAft>
              <a:buNone/>
            </a:pPr>
            <a:r>
              <a:rPr lang="en-US" sz="2600" dirty="0">
                <a:solidFill>
                  <a:schemeClr val="bg1"/>
                </a:solidFill>
                <a:latin typeface="Arial" panose="020B0604020202020204" pitchFamily="34" charset="0"/>
                <a:cs typeface="Arial" panose="020B0604020202020204" pitchFamily="34" charset="0"/>
              </a:rPr>
              <a:t>    T</a:t>
            </a:r>
            <a:r>
              <a:rPr lang="en-US" sz="2600" i="0" dirty="0">
                <a:solidFill>
                  <a:schemeClr val="bg1"/>
                </a:solidFill>
                <a:latin typeface="Arial" panose="020B0604020202020204" pitchFamily="34" charset="0"/>
                <a:cs typeface="Arial" panose="020B0604020202020204" pitchFamily="34" charset="0"/>
              </a:rPr>
              <a:t>oday marks the end of “their” plans.</a:t>
            </a:r>
            <a:br>
              <a:rPr lang="en-US" sz="2600" i="0" dirty="0">
                <a:solidFill>
                  <a:schemeClr val="bg1"/>
                </a:solidFill>
                <a:latin typeface="Arial" panose="020B0604020202020204" pitchFamily="34" charset="0"/>
                <a:cs typeface="Arial" panose="020B0604020202020204" pitchFamily="34" charset="0"/>
              </a:rPr>
            </a:br>
            <a:r>
              <a:rPr lang="en-US" sz="2600" i="0" dirty="0">
                <a:solidFill>
                  <a:schemeClr val="bg1"/>
                </a:solidFill>
                <a:latin typeface="Arial" panose="020B0604020202020204" pitchFamily="34" charset="0"/>
                <a:cs typeface="Arial" panose="020B0604020202020204" pitchFamily="34" charset="0"/>
              </a:rPr>
              <a:t>    Today, we will no longer retreat!</a:t>
            </a:r>
            <a:br>
              <a:rPr lang="en-US" sz="2600" i="0" dirty="0">
                <a:solidFill>
                  <a:schemeClr val="bg1"/>
                </a:solidFill>
                <a:latin typeface="Arial" panose="020B0604020202020204" pitchFamily="34" charset="0"/>
                <a:cs typeface="Arial" panose="020B0604020202020204" pitchFamily="34" charset="0"/>
              </a:rPr>
            </a:br>
            <a:r>
              <a:rPr lang="en-US" sz="2600" i="0" dirty="0">
                <a:solidFill>
                  <a:schemeClr val="bg1"/>
                </a:solidFill>
                <a:latin typeface="Arial" panose="020B0604020202020204" pitchFamily="34" charset="0"/>
                <a:cs typeface="Arial" panose="020B0604020202020204" pitchFamily="34" charset="0"/>
              </a:rPr>
              <a:t>    Today, we take back what is ours!</a:t>
            </a:r>
          </a:p>
        </p:txBody>
      </p:sp>
      <p:pic>
        <p:nvPicPr>
          <p:cNvPr id="8" name="Fallen Haven 2 - Mystic Behaviour">
            <a:hlinkClick r:id="" action="ppaction://media"/>
            <a:extLst>
              <a:ext uri="{FF2B5EF4-FFF2-40B4-BE49-F238E27FC236}">
                <a16:creationId xmlns:a16="http://schemas.microsoft.com/office/drawing/2014/main" id="{49F577AB-38A2-413B-3F7F-5B794F9C119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73685" y="5852477"/>
            <a:ext cx="487363" cy="487363"/>
          </a:xfrm>
          <a:prstGeom prst="rect">
            <a:avLst/>
          </a:prstGeom>
        </p:spPr>
      </p:pic>
    </p:spTree>
    <p:extLst>
      <p:ext uri="{BB962C8B-B14F-4D97-AF65-F5344CB8AC3E}">
        <p14:creationId xmlns:p14="http://schemas.microsoft.com/office/powerpoint/2010/main" val="4194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8662"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48980">
                <p:cTn id="7" fill="hold" display="0">
                  <p:stCondLst>
                    <p:cond delay="indefinite"/>
                  </p:stCondLst>
                  <p:endCondLst>
                    <p:cond evt="onStopAudio" delay="0">
                      <p:tgtEl>
                        <p:sldTgt/>
                      </p:tgtEl>
                    </p:cond>
                  </p:endCondLst>
                </p:cTn>
                <p:tgtEl>
                  <p:spTgt spid="8"/>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a:stretch>
        </a:blip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1FAB983-7AE1-99D1-03ED-C7A5EB42364C}"/>
              </a:ext>
            </a:extLst>
          </p:cNvPr>
          <p:cNvSpPr/>
          <p:nvPr/>
        </p:nvSpPr>
        <p:spPr>
          <a:xfrm>
            <a:off x="916754" y="974725"/>
            <a:ext cx="9365166" cy="3261995"/>
          </a:xfrm>
          <a:prstGeom prst="roundRect">
            <a:avLst>
              <a:gd name="adj" fmla="val 8880"/>
            </a:avLst>
          </a:prstGeom>
          <a:solidFill>
            <a:schemeClr val="tx1">
              <a:alpha val="71000"/>
            </a:schemeClr>
          </a:solidFill>
          <a:ln w="38100">
            <a:solidFill>
              <a:srgbClr val="8D4E2A"/>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3" name="Content Placeholder 2">
            <a:extLst>
              <a:ext uri="{FF2B5EF4-FFF2-40B4-BE49-F238E27FC236}">
                <a16:creationId xmlns:a16="http://schemas.microsoft.com/office/drawing/2014/main" id="{857438C1-98AB-3C05-FAFC-6E9925518C13}"/>
              </a:ext>
            </a:extLst>
          </p:cNvPr>
          <p:cNvSpPr>
            <a:spLocks noGrp="1"/>
          </p:cNvSpPr>
          <p:nvPr>
            <p:ph idx="1"/>
          </p:nvPr>
        </p:nvSpPr>
        <p:spPr>
          <a:xfrm>
            <a:off x="548640" y="974725"/>
            <a:ext cx="9652000" cy="3170555"/>
          </a:xfrm>
          <a:effectLst>
            <a:outerShdw blurRad="50800" dist="38100" dir="2700000" algn="tl" rotWithShape="0">
              <a:prstClr val="black">
                <a:alpha val="40000"/>
              </a:prstClr>
            </a:outerShdw>
          </a:effectLst>
        </p:spPr>
        <p:txBody>
          <a:bodyPr>
            <a:noAutofit/>
          </a:bodyPr>
          <a:lstStyle/>
          <a:p>
            <a:pPr marL="457200" lvl="1" indent="0">
              <a:lnSpc>
                <a:spcPct val="150000"/>
              </a:lnSpc>
              <a:buNone/>
            </a:pPr>
            <a:r>
              <a:rPr lang="en-US" sz="4800" b="1" dirty="0">
                <a:solidFill>
                  <a:schemeClr val="bg1"/>
                </a:solidFill>
              </a:rPr>
              <a:t>🤔</a:t>
            </a:r>
            <a:r>
              <a:rPr lang="en-US" sz="4800" dirty="0">
                <a:solidFill>
                  <a:srgbClr val="FFF69F"/>
                </a:solidFill>
              </a:rPr>
              <a:t>Situation</a:t>
            </a:r>
            <a:endParaRPr lang="en-US" sz="4800" dirty="0">
              <a:solidFill>
                <a:srgbClr val="FFF69F"/>
              </a:solidFill>
              <a:effectLst>
                <a:outerShdw blurRad="38100" dist="76200" dir="5400000" algn="ctr" rotWithShape="0">
                  <a:schemeClr val="tx1"/>
                </a:outerShdw>
              </a:effectLst>
              <a:latin typeface="Arial" panose="020B0604020202020204" pitchFamily="34" charset="0"/>
              <a:cs typeface="Arial" panose="020B0604020202020204" pitchFamily="34" charset="0"/>
            </a:endParaRPr>
          </a:p>
          <a:p>
            <a:pPr marL="457200" lvl="1" indent="0">
              <a:lnSpc>
                <a:spcPct val="150000"/>
              </a:lnSpc>
              <a:buNone/>
            </a:pPr>
            <a:r>
              <a:rPr lang="en-US" dirty="0">
                <a:solidFill>
                  <a:schemeClr val="bg1"/>
                </a:solidFill>
                <a:latin typeface="Arial" panose="020B0604020202020204" pitchFamily="34" charset="0"/>
                <a:cs typeface="Arial" panose="020B0604020202020204" pitchFamily="34" charset="0"/>
              </a:rPr>
              <a:t>	On behalf of all people, we are to fight humanity's "last battle"!</a:t>
            </a:r>
          </a:p>
          <a:p>
            <a:pPr marL="457200" lvl="1" indent="0">
              <a:lnSpc>
                <a:spcPct val="150000"/>
              </a:lnSpc>
              <a:buNone/>
            </a:pPr>
            <a:r>
              <a:rPr lang="en-US" sz="2400" dirty="0">
                <a:solidFill>
                  <a:schemeClr val="bg1"/>
                </a:solidFill>
                <a:latin typeface="Arial" panose="020B0604020202020204" pitchFamily="34" charset="0"/>
                <a:cs typeface="Arial" panose="020B0604020202020204" pitchFamily="34" charset="0"/>
              </a:rPr>
              <a:t>	“They” destroyed our default communication channels.</a:t>
            </a:r>
          </a:p>
          <a:p>
            <a:pPr marL="457200" lvl="1" indent="0">
              <a:lnSpc>
                <a:spcPct val="150000"/>
              </a:lnSpc>
              <a:buNone/>
            </a:pPr>
            <a:r>
              <a:rPr lang="en-US" sz="2400" dirty="0">
                <a:solidFill>
                  <a:schemeClr val="bg1"/>
                </a:solidFill>
                <a:latin typeface="Arial" panose="020B0604020202020204" pitchFamily="34" charset="0"/>
                <a:cs typeface="Arial" panose="020B0604020202020204" pitchFamily="34" charset="0"/>
              </a:rPr>
              <a:t>	But there is </a:t>
            </a:r>
            <a:r>
              <a:rPr lang="en-US" sz="2400" noProof="1">
                <a:solidFill>
                  <a:srgbClr val="FFF69F"/>
                </a:solidFill>
                <a:latin typeface="Arial" panose="020B0604020202020204" pitchFamily="34" charset="0"/>
                <a:cs typeface="Arial" panose="020B0604020202020204" pitchFamily="34" charset="0"/>
              </a:rPr>
              <a:t>watsonx</a:t>
            </a:r>
            <a:r>
              <a:rPr lang="en-US" sz="2400" dirty="0">
                <a:solidFill>
                  <a:schemeClr val="bg1"/>
                </a:solidFill>
                <a:latin typeface="Arial" panose="020B0604020202020204" pitchFamily="34" charset="0"/>
                <a:cs typeface="Arial" panose="020B0604020202020204" pitchFamily="34" charset="0"/>
              </a:rPr>
              <a:t>, a 2025 good old earth age software.</a:t>
            </a:r>
          </a:p>
          <a:p>
            <a:pPr lvl="1"/>
            <a:endParaRPr lang="en-US" dirty="0">
              <a:solidFill>
                <a:srgbClr val="FEFCD7"/>
              </a:solidFill>
              <a:effectLst>
                <a:outerShdw blurRad="38100" dist="76200" dir="5400000" algn="ctr" rotWithShape="0">
                  <a:schemeClr val="tx1"/>
                </a:outerShdw>
              </a:effectLst>
            </a:endParaRPr>
          </a:p>
          <a:p>
            <a:pPr marL="0" indent="0">
              <a:buNone/>
            </a:pPr>
            <a:endParaRPr lang="en-DE" sz="2400" dirty="0">
              <a:solidFill>
                <a:srgbClr val="FEFCD7"/>
              </a:solidFill>
            </a:endParaRPr>
          </a:p>
        </p:txBody>
      </p:sp>
      <p:pic>
        <p:nvPicPr>
          <p:cNvPr id="5" name="Fallen Haven 2 - Remote World">
            <a:hlinkClick r:id="" action="ppaction://media"/>
            <a:extLst>
              <a:ext uri="{FF2B5EF4-FFF2-40B4-BE49-F238E27FC236}">
                <a16:creationId xmlns:a16="http://schemas.microsoft.com/office/drawing/2014/main" id="{FFB2A653-FF55-20F3-AAED-4B9CE55FBCB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48640" y="5761355"/>
            <a:ext cx="487363" cy="487363"/>
          </a:xfrm>
          <a:prstGeom prst="rect">
            <a:avLst/>
          </a:prstGeom>
        </p:spPr>
      </p:pic>
    </p:spTree>
    <p:extLst>
      <p:ext uri="{BB962C8B-B14F-4D97-AF65-F5344CB8AC3E}">
        <p14:creationId xmlns:p14="http://schemas.microsoft.com/office/powerpoint/2010/main" val="3602010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8034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47959">
                <p:cTn id="7" fill="hold" display="0">
                  <p:stCondLst>
                    <p:cond delay="indefinite"/>
                  </p:stCondLst>
                  <p:endCondLst>
                    <p:cond evt="onStopAudio" delay="0">
                      <p:tgtEl>
                        <p:sldTgt/>
                      </p:tgtEl>
                    </p:cond>
                  </p:endCondLst>
                </p:cTn>
                <p:tgtEl>
                  <p:spTgt spid="5"/>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691DE88-ED60-E0B4-CA27-6E85956A8495}"/>
              </a:ext>
            </a:extLst>
          </p:cNvPr>
          <p:cNvSpPr/>
          <p:nvPr/>
        </p:nvSpPr>
        <p:spPr>
          <a:xfrm>
            <a:off x="4419600" y="783749"/>
            <a:ext cx="6858000" cy="3779520"/>
          </a:xfrm>
          <a:prstGeom prst="roundRect">
            <a:avLst>
              <a:gd name="adj" fmla="val 4570"/>
            </a:avLst>
          </a:prstGeom>
          <a:solidFill>
            <a:srgbClr val="000000">
              <a:alpha val="47843"/>
            </a:srgbClr>
          </a:solidFill>
          <a:ln w="38100">
            <a:solidFill>
              <a:srgbClr val="782813"/>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3" name="Inhaltsplatzhalter 2">
            <a:extLst>
              <a:ext uri="{FF2B5EF4-FFF2-40B4-BE49-F238E27FC236}">
                <a16:creationId xmlns:a16="http://schemas.microsoft.com/office/drawing/2014/main" id="{E5E6E273-D4EC-9B49-CF87-1A9903DCDF94}"/>
              </a:ext>
            </a:extLst>
          </p:cNvPr>
          <p:cNvSpPr>
            <a:spLocks noGrp="1"/>
          </p:cNvSpPr>
          <p:nvPr>
            <p:ph idx="1"/>
          </p:nvPr>
        </p:nvSpPr>
        <p:spPr>
          <a:xfrm>
            <a:off x="4597400" y="1010918"/>
            <a:ext cx="6395720" cy="3466447"/>
          </a:xfrm>
        </p:spPr>
        <p:txBody>
          <a:bodyPr>
            <a:normAutofit/>
          </a:bodyPr>
          <a:lstStyle/>
          <a:p>
            <a:pPr marL="0" indent="0">
              <a:lnSpc>
                <a:spcPct val="100000"/>
              </a:lnSpc>
              <a:buNone/>
            </a:pPr>
            <a:r>
              <a:rPr lang="en-US" sz="4800" b="1" dirty="0">
                <a:solidFill>
                  <a:schemeClr val="bg1"/>
                </a:solidFill>
                <a:latin typeface="Arial" panose="020B0604020202020204" pitchFamily="34" charset="0"/>
                <a:cs typeface="Arial" panose="020B0604020202020204" pitchFamily="34" charset="0"/>
              </a:rPr>
              <a:t>👽	</a:t>
            </a:r>
            <a:r>
              <a:rPr lang="en-US" sz="4800" dirty="0">
                <a:solidFill>
                  <a:srgbClr val="FFF69F"/>
                </a:solidFill>
                <a:latin typeface="Arial" panose="020B0604020202020204" pitchFamily="34" charset="0"/>
                <a:cs typeface="Arial" panose="020B0604020202020204" pitchFamily="34" charset="0"/>
              </a:rPr>
              <a:t>Problem</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We are under attack!</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We need to create battle plans, now!</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All you need, is in the repository.</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The survival of humanity depends on you.</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Good luck, Space Cadets!</a:t>
            </a:r>
          </a:p>
          <a:p>
            <a:pPr marL="0" indent="0">
              <a:buNone/>
            </a:pPr>
            <a:endParaRPr lang="de-DE" dirty="0">
              <a:solidFill>
                <a:schemeClr val="bg1"/>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FD4C6C20-99D3-3F75-3255-6296EB1BBADE}"/>
              </a:ext>
            </a:extLst>
          </p:cNvPr>
          <p:cNvSpPr/>
          <p:nvPr/>
        </p:nvSpPr>
        <p:spPr>
          <a:xfrm>
            <a:off x="833120" y="5032850"/>
            <a:ext cx="10444480" cy="1036321"/>
          </a:xfrm>
          <a:prstGeom prst="roundRect">
            <a:avLst/>
          </a:prstGeom>
          <a:solidFill>
            <a:schemeClr val="tx1">
              <a:alpha val="45882"/>
            </a:schemeClr>
          </a:solidFill>
          <a:ln w="38100">
            <a:solidFill>
              <a:srgbClr val="782813"/>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6" name="TextBox 5">
            <a:extLst>
              <a:ext uri="{FF2B5EF4-FFF2-40B4-BE49-F238E27FC236}">
                <a16:creationId xmlns:a16="http://schemas.microsoft.com/office/drawing/2014/main" id="{9F31BA36-66AF-6DB7-3988-3B0726178DA6}"/>
              </a:ext>
            </a:extLst>
          </p:cNvPr>
          <p:cNvSpPr txBox="1"/>
          <p:nvPr/>
        </p:nvSpPr>
        <p:spPr>
          <a:xfrm>
            <a:off x="1084580" y="5274011"/>
            <a:ext cx="10022840" cy="553998"/>
          </a:xfrm>
          <a:prstGeom prst="rect">
            <a:avLst/>
          </a:prstGeom>
          <a:noFill/>
        </p:spPr>
        <p:txBody>
          <a:bodyPr wrap="square">
            <a:spAutoFit/>
          </a:bodyPr>
          <a:lstStyle/>
          <a:p>
            <a:pPr marL="0" indent="0">
              <a:lnSpc>
                <a:spcPct val="100000"/>
              </a:lnSpc>
              <a:buNone/>
            </a:pPr>
            <a:r>
              <a:rPr lang="en-US" sz="3000" dirty="0">
                <a:solidFill>
                  <a:srgbClr val="FFF69F"/>
                </a:solidFill>
                <a:latin typeface="Arial" panose="020B0604020202020204" pitchFamily="34" charset="0"/>
                <a:cs typeface="Arial" panose="020B0604020202020204" pitchFamily="34" charset="0"/>
              </a:rPr>
              <a:t>https://github.com/cloudflightio/agentic-ai-hackathon-2125</a:t>
            </a:r>
          </a:p>
        </p:txBody>
      </p:sp>
      <p:pic>
        <p:nvPicPr>
          <p:cNvPr id="9" name="sound-alert-in-hall">
            <a:hlinkClick r:id="" action="ppaction://media"/>
            <a:extLst>
              <a:ext uri="{FF2B5EF4-FFF2-40B4-BE49-F238E27FC236}">
                <a16:creationId xmlns:a16="http://schemas.microsoft.com/office/drawing/2014/main" id="{8F31B226-E610-E183-4388-74CC2D819B5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7806" y="5828009"/>
            <a:ext cx="487363" cy="487363"/>
          </a:xfrm>
          <a:prstGeom prst="rect">
            <a:avLst/>
          </a:prstGeom>
        </p:spPr>
      </p:pic>
    </p:spTree>
    <p:extLst>
      <p:ext uri="{BB962C8B-B14F-4D97-AF65-F5344CB8AC3E}">
        <p14:creationId xmlns:p14="http://schemas.microsoft.com/office/powerpoint/2010/main" val="3675200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639"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691DE88-ED60-E0B4-CA27-6E85956A8495}"/>
              </a:ext>
            </a:extLst>
          </p:cNvPr>
          <p:cNvSpPr/>
          <p:nvPr/>
        </p:nvSpPr>
        <p:spPr>
          <a:xfrm>
            <a:off x="4419600" y="783749"/>
            <a:ext cx="6858000" cy="3779520"/>
          </a:xfrm>
          <a:prstGeom prst="roundRect">
            <a:avLst>
              <a:gd name="adj" fmla="val 4570"/>
            </a:avLst>
          </a:prstGeom>
          <a:solidFill>
            <a:srgbClr val="000000">
              <a:alpha val="47843"/>
            </a:srgbClr>
          </a:solidFill>
          <a:ln w="38100">
            <a:solidFill>
              <a:srgbClr val="782813"/>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3" name="Inhaltsplatzhalter 2">
            <a:extLst>
              <a:ext uri="{FF2B5EF4-FFF2-40B4-BE49-F238E27FC236}">
                <a16:creationId xmlns:a16="http://schemas.microsoft.com/office/drawing/2014/main" id="{E5E6E273-D4EC-9B49-CF87-1A9903DCDF94}"/>
              </a:ext>
            </a:extLst>
          </p:cNvPr>
          <p:cNvSpPr>
            <a:spLocks noGrp="1"/>
          </p:cNvSpPr>
          <p:nvPr>
            <p:ph idx="1"/>
          </p:nvPr>
        </p:nvSpPr>
        <p:spPr>
          <a:xfrm>
            <a:off x="4597400" y="1010918"/>
            <a:ext cx="6395720" cy="3466447"/>
          </a:xfrm>
        </p:spPr>
        <p:txBody>
          <a:bodyPr>
            <a:normAutofit/>
          </a:bodyPr>
          <a:lstStyle/>
          <a:p>
            <a:pPr marL="0" indent="0">
              <a:lnSpc>
                <a:spcPct val="100000"/>
              </a:lnSpc>
              <a:buNone/>
            </a:pPr>
            <a:r>
              <a:rPr lang="en-US" sz="4800" b="1" dirty="0">
                <a:solidFill>
                  <a:schemeClr val="bg1"/>
                </a:solidFill>
                <a:latin typeface="Arial" panose="020B0604020202020204" pitchFamily="34" charset="0"/>
                <a:cs typeface="Arial" panose="020B0604020202020204" pitchFamily="34" charset="0"/>
              </a:rPr>
              <a:t>👽	</a:t>
            </a:r>
            <a:r>
              <a:rPr lang="en-US" sz="4800" dirty="0">
                <a:solidFill>
                  <a:srgbClr val="FFF69F"/>
                </a:solidFill>
                <a:latin typeface="Arial" panose="020B0604020202020204" pitchFamily="34" charset="0"/>
                <a:cs typeface="Arial" panose="020B0604020202020204" pitchFamily="34" charset="0"/>
              </a:rPr>
              <a:t>Problem</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We are under attack!</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We need to create battle plans, now!</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All you need, is in the repository.</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The survival of humanity depends on you.</a:t>
            </a:r>
          </a:p>
          <a:p>
            <a:pPr marL="0" indent="0">
              <a:lnSpc>
                <a:spcPct val="100000"/>
              </a:lnSpc>
              <a:buNone/>
            </a:pPr>
            <a:r>
              <a:rPr lang="en-US" sz="2400" dirty="0">
                <a:solidFill>
                  <a:schemeClr val="bg1"/>
                </a:solidFill>
                <a:latin typeface="Arial" panose="020B0604020202020204" pitchFamily="34" charset="0"/>
                <a:cs typeface="Arial" panose="020B0604020202020204" pitchFamily="34" charset="0"/>
              </a:rPr>
              <a:t>     Good luck, Space Cadets!</a:t>
            </a:r>
          </a:p>
          <a:p>
            <a:pPr marL="0" indent="0">
              <a:buNone/>
            </a:pPr>
            <a:endParaRPr lang="de-DE" dirty="0">
              <a:solidFill>
                <a:schemeClr val="bg1"/>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FD4C6C20-99D3-3F75-3255-6296EB1BBADE}"/>
              </a:ext>
            </a:extLst>
          </p:cNvPr>
          <p:cNvSpPr/>
          <p:nvPr/>
        </p:nvSpPr>
        <p:spPr>
          <a:xfrm>
            <a:off x="833120" y="5032850"/>
            <a:ext cx="10444480" cy="1036321"/>
          </a:xfrm>
          <a:prstGeom prst="roundRect">
            <a:avLst/>
          </a:prstGeom>
          <a:solidFill>
            <a:schemeClr val="tx1">
              <a:alpha val="45882"/>
            </a:schemeClr>
          </a:solidFill>
          <a:ln w="38100">
            <a:solidFill>
              <a:srgbClr val="782813"/>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6" name="TextBox 5">
            <a:extLst>
              <a:ext uri="{FF2B5EF4-FFF2-40B4-BE49-F238E27FC236}">
                <a16:creationId xmlns:a16="http://schemas.microsoft.com/office/drawing/2014/main" id="{9F31BA36-66AF-6DB7-3988-3B0726178DA6}"/>
              </a:ext>
            </a:extLst>
          </p:cNvPr>
          <p:cNvSpPr txBox="1"/>
          <p:nvPr/>
        </p:nvSpPr>
        <p:spPr>
          <a:xfrm>
            <a:off x="1084580" y="5274011"/>
            <a:ext cx="10022840" cy="553998"/>
          </a:xfrm>
          <a:prstGeom prst="rect">
            <a:avLst/>
          </a:prstGeom>
          <a:noFill/>
        </p:spPr>
        <p:txBody>
          <a:bodyPr wrap="square">
            <a:spAutoFit/>
          </a:bodyPr>
          <a:lstStyle/>
          <a:p>
            <a:pPr marL="0" indent="0">
              <a:lnSpc>
                <a:spcPct val="100000"/>
              </a:lnSpc>
              <a:buNone/>
            </a:pPr>
            <a:r>
              <a:rPr lang="en-US" sz="3000" dirty="0">
                <a:solidFill>
                  <a:srgbClr val="FFF69F"/>
                </a:solidFill>
                <a:latin typeface="Arial" panose="020B0604020202020204" pitchFamily="34" charset="0"/>
                <a:cs typeface="Arial" panose="020B0604020202020204" pitchFamily="34" charset="0"/>
              </a:rPr>
              <a:t>https://github.com/cloudflightio/agentic-ai-hackathon-2125</a:t>
            </a:r>
          </a:p>
        </p:txBody>
      </p:sp>
      <p:pic>
        <p:nvPicPr>
          <p:cNvPr id="8" name="Fallen Haven 2 - Intor">
            <a:hlinkClick r:id="" action="ppaction://media"/>
            <a:extLst>
              <a:ext uri="{FF2B5EF4-FFF2-40B4-BE49-F238E27FC236}">
                <a16:creationId xmlns:a16="http://schemas.microsoft.com/office/drawing/2014/main" id="{AA499302-12B0-CFF2-A85C-539DB8DC2E8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7806" y="5828009"/>
            <a:ext cx="487363" cy="487363"/>
          </a:xfrm>
          <a:prstGeom prst="rect">
            <a:avLst/>
          </a:prstGeom>
        </p:spPr>
      </p:pic>
    </p:spTree>
    <p:extLst>
      <p:ext uri="{BB962C8B-B14F-4D97-AF65-F5344CB8AC3E}">
        <p14:creationId xmlns:p14="http://schemas.microsoft.com/office/powerpoint/2010/main" val="473986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51020" numSld="999">
                <p:cTn id="7" fill="hold" display="0">
                  <p:stCondLst>
                    <p:cond delay="indefinite"/>
                  </p:stCondLst>
                  <p:endCondLst>
                    <p:cond evt="onStopAudio" delay="0">
                      <p:tgtEl>
                        <p:sldTgt/>
                      </p:tgtEl>
                    </p:cond>
                  </p:endCondLst>
                </p:cTn>
                <p:tgtEl>
                  <p:spTgt spid="8"/>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3000" r="-69000"/>
          </a:stretch>
        </a:blipFill>
        <a:effectLst/>
      </p:bgPr>
    </p:bg>
    <p:spTree>
      <p:nvGrpSpPr>
        <p:cNvPr id="1" name="">
          <a:extLst>
            <a:ext uri="{FF2B5EF4-FFF2-40B4-BE49-F238E27FC236}">
              <a16:creationId xmlns:a16="http://schemas.microsoft.com/office/drawing/2014/main" id="{5593C6E6-78E2-ACDF-8746-B1ED078017C3}"/>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CF81E76-00BF-4B42-D150-C5E2229AD957}"/>
              </a:ext>
            </a:extLst>
          </p:cNvPr>
          <p:cNvSpPr/>
          <p:nvPr/>
        </p:nvSpPr>
        <p:spPr>
          <a:xfrm>
            <a:off x="833120" y="563394"/>
            <a:ext cx="10444480" cy="4130526"/>
          </a:xfrm>
          <a:prstGeom prst="roundRect">
            <a:avLst>
              <a:gd name="adj" fmla="val 4570"/>
            </a:avLst>
          </a:prstGeom>
          <a:solidFill>
            <a:srgbClr val="000000">
              <a:alpha val="65098"/>
            </a:srgbClr>
          </a:solidFill>
          <a:ln w="38100">
            <a:solidFill>
              <a:srgbClr val="9413B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3" name="Inhaltsplatzhalter 2">
            <a:extLst>
              <a:ext uri="{FF2B5EF4-FFF2-40B4-BE49-F238E27FC236}">
                <a16:creationId xmlns:a16="http://schemas.microsoft.com/office/drawing/2014/main" id="{BE5CF633-31CD-1866-31E4-6E98C4ED6C13}"/>
              </a:ext>
            </a:extLst>
          </p:cNvPr>
          <p:cNvSpPr>
            <a:spLocks noGrp="1"/>
          </p:cNvSpPr>
          <p:nvPr>
            <p:ph idx="1"/>
          </p:nvPr>
        </p:nvSpPr>
        <p:spPr>
          <a:xfrm>
            <a:off x="964023" y="820930"/>
            <a:ext cx="10515600" cy="3624219"/>
          </a:xfrm>
          <a:prstGeom prst="roundRect">
            <a:avLst>
              <a:gd name="adj" fmla="val 6411"/>
            </a:avLst>
          </a:prstGeom>
          <a:noFill/>
          <a:ln w="38100">
            <a:noFill/>
          </a:ln>
          <a:effectLst/>
        </p:spPr>
        <p:txBody>
          <a:bodyPr>
            <a:normAutofit/>
          </a:bodyPr>
          <a:lstStyle/>
          <a:p>
            <a:pPr marL="0" indent="0">
              <a:buNone/>
            </a:pPr>
            <a:r>
              <a:rPr lang="en-AT" sz="4800" dirty="0">
                <a:latin typeface="Arial" panose="020B0604020202020204" pitchFamily="34" charset="0"/>
                <a:cs typeface="Arial" panose="020B0604020202020204" pitchFamily="34" charset="0"/>
              </a:rPr>
              <a:t>📖</a:t>
            </a:r>
            <a:r>
              <a:rPr lang="en-US" sz="4800" b="1" dirty="0">
                <a:solidFill>
                  <a:schemeClr val="bg1"/>
                </a:solidFill>
                <a:latin typeface="Arial" panose="020B0604020202020204" pitchFamily="34" charset="0"/>
                <a:cs typeface="Arial" panose="020B0604020202020204" pitchFamily="34" charset="0"/>
              </a:rPr>
              <a:t> </a:t>
            </a:r>
            <a:r>
              <a:rPr lang="en-US" sz="4800" dirty="0">
                <a:solidFill>
                  <a:srgbClr val="FFF69F"/>
                </a:solidFill>
                <a:latin typeface="Arial" panose="020B0604020202020204" pitchFamily="34" charset="0"/>
                <a:cs typeface="Arial" panose="020B0604020202020204" pitchFamily="34" charset="0"/>
              </a:rPr>
              <a:t>Rules</a:t>
            </a:r>
          </a:p>
          <a:p>
            <a:pPr marL="0" indent="0">
              <a:buNone/>
            </a:pPr>
            <a:r>
              <a:rPr lang="en-US" sz="2400" dirty="0">
                <a:solidFill>
                  <a:schemeClr val="bg1"/>
                </a:solidFill>
                <a:latin typeface="Arial" panose="020B0604020202020204" pitchFamily="34" charset="0"/>
                <a:cs typeface="Arial" panose="020B0604020202020204" pitchFamily="34" charset="0"/>
              </a:rPr>
              <a:t>   You will compete in several missions.</a:t>
            </a:r>
          </a:p>
          <a:p>
            <a:pPr marL="0" indent="0">
              <a:buNone/>
            </a:pPr>
            <a:r>
              <a:rPr lang="en-US" sz="2400" dirty="0">
                <a:solidFill>
                  <a:schemeClr val="bg1"/>
                </a:solidFill>
                <a:latin typeface="Arial" panose="020B0604020202020204" pitchFamily="34" charset="0"/>
                <a:cs typeface="Arial" panose="020B0604020202020204" pitchFamily="34" charset="0"/>
              </a:rPr>
              <a:t>   After each mission, call a </a:t>
            </a:r>
            <a:r>
              <a:rPr lang="en-US" sz="2400" dirty="0">
                <a:solidFill>
                  <a:srgbClr val="FFFAC4"/>
                </a:solidFill>
                <a:latin typeface="Arial" panose="020B0604020202020204" pitchFamily="34" charset="0"/>
                <a:cs typeface="Arial" panose="020B0604020202020204" pitchFamily="34" charset="0"/>
              </a:rPr>
              <a:t>Space Instructor </a:t>
            </a:r>
            <a:r>
              <a:rPr lang="en-US" sz="2400" dirty="0">
                <a:solidFill>
                  <a:schemeClr val="bg1"/>
                </a:solidFill>
                <a:latin typeface="Arial" panose="020B0604020202020204" pitchFamily="34" charset="0"/>
                <a:cs typeface="Arial" panose="020B0604020202020204" pitchFamily="34" charset="0"/>
              </a:rPr>
              <a:t>to get your solution verified.</a:t>
            </a:r>
          </a:p>
          <a:p>
            <a:pPr marL="0" indent="0">
              <a:buNone/>
            </a:pPr>
            <a:r>
              <a:rPr lang="en-US" sz="2400" dirty="0">
                <a:solidFill>
                  <a:schemeClr val="bg1"/>
                </a:solidFill>
                <a:latin typeface="Arial" panose="020B0604020202020204" pitchFamily="34" charset="0"/>
                <a:cs typeface="Arial" panose="020B0604020202020204" pitchFamily="34" charset="0"/>
              </a:rPr>
              <a:t>   You will be rated with Space Points.</a:t>
            </a:r>
          </a:p>
          <a:p>
            <a:pPr marL="0" indent="0">
              <a:buNone/>
            </a:pPr>
            <a:r>
              <a:rPr lang="en-US" sz="2400" dirty="0">
                <a:solidFill>
                  <a:schemeClr val="bg1"/>
                </a:solidFill>
                <a:latin typeface="Arial" panose="020B0604020202020204" pitchFamily="34" charset="0"/>
                <a:cs typeface="Arial" panose="020B0604020202020204" pitchFamily="34" charset="0"/>
              </a:rPr>
              <a:t>   There is no exact solution on how to solve the missions.</a:t>
            </a:r>
          </a:p>
          <a:p>
            <a:pPr marL="0" indent="0">
              <a:buNone/>
            </a:pPr>
            <a:r>
              <a:rPr lang="en-US" sz="2400" dirty="0">
                <a:solidFill>
                  <a:schemeClr val="bg1"/>
                </a:solidFill>
                <a:latin typeface="Arial" panose="020B0604020202020204" pitchFamily="34" charset="0"/>
                <a:cs typeface="Arial" panose="020B0604020202020204" pitchFamily="34" charset="0"/>
              </a:rPr>
              <a:t>   Creativity wins.</a:t>
            </a:r>
          </a:p>
          <a:p>
            <a:pPr marL="0" indent="0">
              <a:buNone/>
            </a:pPr>
            <a:r>
              <a:rPr lang="en-US" sz="2400" dirty="0">
                <a:solidFill>
                  <a:schemeClr val="bg1"/>
                </a:solidFill>
                <a:latin typeface="Arial" panose="020B0604020202020204" pitchFamily="34" charset="0"/>
                <a:cs typeface="Arial" panose="020B0604020202020204" pitchFamily="34" charset="0"/>
              </a:rPr>
              <a:t>   Good luck, Space Cadets!</a:t>
            </a:r>
          </a:p>
        </p:txBody>
      </p:sp>
      <p:sp>
        <p:nvSpPr>
          <p:cNvPr id="9" name="Rectangle: Rounded Corners 8">
            <a:extLst>
              <a:ext uri="{FF2B5EF4-FFF2-40B4-BE49-F238E27FC236}">
                <a16:creationId xmlns:a16="http://schemas.microsoft.com/office/drawing/2014/main" id="{563C926C-EA64-2C34-58FC-036F58B970D0}"/>
              </a:ext>
            </a:extLst>
          </p:cNvPr>
          <p:cNvSpPr/>
          <p:nvPr/>
        </p:nvSpPr>
        <p:spPr>
          <a:xfrm>
            <a:off x="833120" y="5032850"/>
            <a:ext cx="10444480" cy="1036321"/>
          </a:xfrm>
          <a:prstGeom prst="roundRect">
            <a:avLst/>
          </a:prstGeom>
          <a:solidFill>
            <a:schemeClr val="tx1">
              <a:alpha val="45882"/>
            </a:schemeClr>
          </a:solidFill>
          <a:ln w="38100">
            <a:solidFill>
              <a:srgbClr val="9413B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10" name="TextBox 9">
            <a:extLst>
              <a:ext uri="{FF2B5EF4-FFF2-40B4-BE49-F238E27FC236}">
                <a16:creationId xmlns:a16="http://schemas.microsoft.com/office/drawing/2014/main" id="{CE40663F-2AF7-AB77-505F-6A88AD15CE20}"/>
              </a:ext>
            </a:extLst>
          </p:cNvPr>
          <p:cNvSpPr txBox="1"/>
          <p:nvPr/>
        </p:nvSpPr>
        <p:spPr>
          <a:xfrm>
            <a:off x="1084580" y="5274011"/>
            <a:ext cx="10022840" cy="553998"/>
          </a:xfrm>
          <a:prstGeom prst="rect">
            <a:avLst/>
          </a:prstGeom>
          <a:noFill/>
        </p:spPr>
        <p:txBody>
          <a:bodyPr wrap="square">
            <a:spAutoFit/>
          </a:bodyPr>
          <a:lstStyle/>
          <a:p>
            <a:pPr marL="0" indent="0">
              <a:lnSpc>
                <a:spcPct val="100000"/>
              </a:lnSpc>
              <a:buNone/>
            </a:pPr>
            <a:r>
              <a:rPr lang="en-US" sz="3000" dirty="0">
                <a:solidFill>
                  <a:srgbClr val="FFF69F"/>
                </a:solidFill>
                <a:latin typeface="Arial" panose="020B0604020202020204" pitchFamily="34" charset="0"/>
                <a:cs typeface="Arial" panose="020B0604020202020204" pitchFamily="34" charset="0"/>
              </a:rPr>
              <a:t>https://github.com/cloudflightio/agentic-ai-hackathon-2125</a:t>
            </a:r>
          </a:p>
        </p:txBody>
      </p:sp>
    </p:spTree>
    <p:extLst>
      <p:ext uri="{BB962C8B-B14F-4D97-AF65-F5344CB8AC3E}">
        <p14:creationId xmlns:p14="http://schemas.microsoft.com/office/powerpoint/2010/main" val="731407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4"/>
          <a:srcRect/>
          <a:stretch>
            <a:fillRect t="-39000" b="-39000"/>
          </a:stretch>
        </a:blipFill>
        <a:effectLst/>
      </p:bgPr>
    </p:bg>
    <p:spTree>
      <p:nvGrpSpPr>
        <p:cNvPr id="1" name="">
          <a:extLst>
            <a:ext uri="{FF2B5EF4-FFF2-40B4-BE49-F238E27FC236}">
              <a16:creationId xmlns:a16="http://schemas.microsoft.com/office/drawing/2014/main" id="{F1AAADDE-D871-2A4C-9DB2-C2155B54A62F}"/>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390D7B1-8EAF-F6C6-07EE-898C5EF3FB93}"/>
              </a:ext>
            </a:extLst>
          </p:cNvPr>
          <p:cNvSpPr/>
          <p:nvPr/>
        </p:nvSpPr>
        <p:spPr>
          <a:xfrm>
            <a:off x="4965786" y="354165"/>
            <a:ext cx="6858000" cy="3779520"/>
          </a:xfrm>
          <a:prstGeom prst="roundRect">
            <a:avLst>
              <a:gd name="adj" fmla="val 4570"/>
            </a:avLst>
          </a:prstGeom>
          <a:solidFill>
            <a:srgbClr val="000000">
              <a:alpha val="47843"/>
            </a:srgbClr>
          </a:solidFill>
          <a:ln w="38100">
            <a:solidFill>
              <a:srgbClr val="72A4A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3" name="Inhaltsplatzhalter 2">
            <a:extLst>
              <a:ext uri="{FF2B5EF4-FFF2-40B4-BE49-F238E27FC236}">
                <a16:creationId xmlns:a16="http://schemas.microsoft.com/office/drawing/2014/main" id="{0E5EA4D4-A298-4DB8-37F9-2429BA78E6EA}"/>
              </a:ext>
            </a:extLst>
          </p:cNvPr>
          <p:cNvSpPr>
            <a:spLocks noGrp="1"/>
          </p:cNvSpPr>
          <p:nvPr>
            <p:ph idx="1"/>
          </p:nvPr>
        </p:nvSpPr>
        <p:spPr>
          <a:xfrm>
            <a:off x="5143586" y="581334"/>
            <a:ext cx="6680200" cy="3466447"/>
          </a:xfrm>
        </p:spPr>
        <p:txBody>
          <a:bodyPr>
            <a:normAutofit/>
          </a:bodyPr>
          <a:lstStyle/>
          <a:p>
            <a:pPr marL="0" indent="0">
              <a:lnSpc>
                <a:spcPct val="100000"/>
              </a:lnSpc>
              <a:buNone/>
            </a:pPr>
            <a:r>
              <a:rPr lang="en-US" sz="4800" b="1" dirty="0">
                <a:solidFill>
                  <a:schemeClr val="bg1"/>
                </a:solidFill>
                <a:latin typeface="Arial" panose="020B0604020202020204" pitchFamily="34" charset="0"/>
                <a:cs typeface="Arial" panose="020B0604020202020204" pitchFamily="34" charset="0"/>
              </a:rPr>
              <a:t>👽	</a:t>
            </a:r>
            <a:r>
              <a:rPr lang="en-US" sz="4800" dirty="0">
                <a:solidFill>
                  <a:srgbClr val="FFF69F"/>
                </a:solidFill>
                <a:latin typeface="Arial" panose="020B0604020202020204" pitchFamily="34" charset="0"/>
                <a:cs typeface="Arial" panose="020B0604020202020204" pitchFamily="34" charset="0"/>
              </a:rPr>
              <a:t>Mothership spotted</a:t>
            </a:r>
          </a:p>
          <a:p>
            <a:pPr marL="0" indent="0">
              <a:lnSpc>
                <a:spcPct val="150000"/>
              </a:lnSpc>
              <a:buNone/>
            </a:pPr>
            <a:r>
              <a:rPr lang="en-US" sz="2400" dirty="0">
                <a:solidFill>
                  <a:schemeClr val="bg1"/>
                </a:solidFill>
                <a:latin typeface="Arial" panose="020B0604020202020204" pitchFamily="34" charset="0"/>
                <a:cs typeface="Arial" panose="020B0604020202020204" pitchFamily="34" charset="0"/>
              </a:rPr>
              <a:t>ALARM! "Their" mothership has been spotted. This is our chance to strike back! </a:t>
            </a:r>
          </a:p>
          <a:p>
            <a:pPr marL="0" indent="0">
              <a:lnSpc>
                <a:spcPct val="150000"/>
              </a:lnSpc>
              <a:buNone/>
            </a:pPr>
            <a:r>
              <a:rPr lang="en-US" sz="2400" dirty="0">
                <a:solidFill>
                  <a:schemeClr val="bg1"/>
                </a:solidFill>
                <a:latin typeface="Arial" panose="020B0604020202020204" pitchFamily="34" charset="0"/>
                <a:cs typeface="Arial" panose="020B0604020202020204" pitchFamily="34" charset="0"/>
              </a:rPr>
              <a:t>The survival of humanity depends on you.</a:t>
            </a:r>
          </a:p>
          <a:p>
            <a:pPr marL="0" indent="0">
              <a:lnSpc>
                <a:spcPct val="150000"/>
              </a:lnSpc>
              <a:buNone/>
            </a:pPr>
            <a:r>
              <a:rPr lang="en-US" sz="2400" dirty="0">
                <a:solidFill>
                  <a:schemeClr val="bg1"/>
                </a:solidFill>
                <a:latin typeface="Arial" panose="020B0604020202020204" pitchFamily="34" charset="0"/>
                <a:cs typeface="Arial" panose="020B0604020202020204" pitchFamily="34" charset="0"/>
              </a:rPr>
              <a:t>Good luck, Commander!</a:t>
            </a:r>
            <a:endParaRPr lang="de-DE" dirty="0">
              <a:solidFill>
                <a:schemeClr val="bg1"/>
              </a:solidFill>
              <a:latin typeface="Arial" panose="020B0604020202020204" pitchFamily="34" charset="0"/>
              <a:cs typeface="Arial" panose="020B0604020202020204" pitchFamily="34" charset="0"/>
            </a:endParaRPr>
          </a:p>
        </p:txBody>
      </p:sp>
      <p:pic>
        <p:nvPicPr>
          <p:cNvPr id="9" name="sound-alert-in-hall">
            <a:hlinkClick r:id="" action="ppaction://media"/>
            <a:extLst>
              <a:ext uri="{FF2B5EF4-FFF2-40B4-BE49-F238E27FC236}">
                <a16:creationId xmlns:a16="http://schemas.microsoft.com/office/drawing/2014/main" id="{80C999F9-258A-58EE-C8CD-D2A187A6CBE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7806" y="5828009"/>
            <a:ext cx="487363" cy="487363"/>
          </a:xfrm>
          <a:prstGeom prst="rect">
            <a:avLst/>
          </a:prstGeom>
        </p:spPr>
      </p:pic>
    </p:spTree>
    <p:extLst>
      <p:ext uri="{BB962C8B-B14F-4D97-AF65-F5344CB8AC3E}">
        <p14:creationId xmlns:p14="http://schemas.microsoft.com/office/powerpoint/2010/main" val="1231043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639"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a:srcRect/>
          <a:stretch>
            <a:fillRect t="-39000" b="-39000"/>
          </a:stretch>
        </a:blipFill>
        <a:effectLst/>
      </p:bgPr>
    </p:bg>
    <p:spTree>
      <p:nvGrpSpPr>
        <p:cNvPr id="1" name="">
          <a:extLst>
            <a:ext uri="{FF2B5EF4-FFF2-40B4-BE49-F238E27FC236}">
              <a16:creationId xmlns:a16="http://schemas.microsoft.com/office/drawing/2014/main" id="{C21AC9E5-0960-CEC9-5A60-A65210E55120}"/>
            </a:ext>
          </a:extLst>
        </p:cNvPr>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853DD8F8-B43B-150E-32C0-AA3716E7A553}"/>
              </a:ext>
            </a:extLst>
          </p:cNvPr>
          <p:cNvSpPr/>
          <p:nvPr/>
        </p:nvSpPr>
        <p:spPr>
          <a:xfrm>
            <a:off x="4965786" y="354165"/>
            <a:ext cx="6858000" cy="3779520"/>
          </a:xfrm>
          <a:prstGeom prst="roundRect">
            <a:avLst>
              <a:gd name="adj" fmla="val 4570"/>
            </a:avLst>
          </a:prstGeom>
          <a:solidFill>
            <a:srgbClr val="000000">
              <a:alpha val="47843"/>
            </a:srgbClr>
          </a:solidFill>
          <a:ln w="38100">
            <a:solidFill>
              <a:srgbClr val="72A4A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10" name="Inhaltsplatzhalter 2">
            <a:extLst>
              <a:ext uri="{FF2B5EF4-FFF2-40B4-BE49-F238E27FC236}">
                <a16:creationId xmlns:a16="http://schemas.microsoft.com/office/drawing/2014/main" id="{DC569877-4631-56E7-FD4A-8FE4A5ABEBA6}"/>
              </a:ext>
            </a:extLst>
          </p:cNvPr>
          <p:cNvSpPr txBox="1">
            <a:spLocks/>
          </p:cNvSpPr>
          <p:nvPr/>
        </p:nvSpPr>
        <p:spPr>
          <a:xfrm>
            <a:off x="5143586" y="581334"/>
            <a:ext cx="6680200" cy="34664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4800" b="1">
                <a:solidFill>
                  <a:schemeClr val="bg1"/>
                </a:solidFill>
                <a:latin typeface="Arial" panose="020B0604020202020204" pitchFamily="34" charset="0"/>
                <a:cs typeface="Arial" panose="020B0604020202020204" pitchFamily="34" charset="0"/>
              </a:rPr>
              <a:t>👽	</a:t>
            </a:r>
            <a:r>
              <a:rPr lang="en-US" sz="4800">
                <a:solidFill>
                  <a:srgbClr val="FFF69F"/>
                </a:solidFill>
                <a:latin typeface="Arial" panose="020B0604020202020204" pitchFamily="34" charset="0"/>
                <a:cs typeface="Arial" panose="020B0604020202020204" pitchFamily="34" charset="0"/>
              </a:rPr>
              <a:t>Mothership spotted</a:t>
            </a:r>
          </a:p>
          <a:p>
            <a:pPr marL="0" indent="0">
              <a:lnSpc>
                <a:spcPct val="150000"/>
              </a:lnSpc>
              <a:buFont typeface="Arial" panose="020B0604020202020204" pitchFamily="34" charset="0"/>
              <a:buNone/>
            </a:pPr>
            <a:r>
              <a:rPr lang="en-US" sz="2400">
                <a:solidFill>
                  <a:schemeClr val="bg1"/>
                </a:solidFill>
                <a:latin typeface="Arial" panose="020B0604020202020204" pitchFamily="34" charset="0"/>
                <a:cs typeface="Arial" panose="020B0604020202020204" pitchFamily="34" charset="0"/>
              </a:rPr>
              <a:t>ALARM! "Their" mothership has been spotted. This is our chance to strike back! </a:t>
            </a:r>
          </a:p>
          <a:p>
            <a:pPr marL="0" indent="0">
              <a:lnSpc>
                <a:spcPct val="150000"/>
              </a:lnSpc>
              <a:buFont typeface="Arial" panose="020B0604020202020204" pitchFamily="34" charset="0"/>
              <a:buNone/>
            </a:pPr>
            <a:r>
              <a:rPr lang="en-US" sz="2400">
                <a:solidFill>
                  <a:schemeClr val="bg1"/>
                </a:solidFill>
                <a:latin typeface="Arial" panose="020B0604020202020204" pitchFamily="34" charset="0"/>
                <a:cs typeface="Arial" panose="020B0604020202020204" pitchFamily="34" charset="0"/>
              </a:rPr>
              <a:t>The survival of humanity depends on you.</a:t>
            </a:r>
          </a:p>
          <a:p>
            <a:pPr marL="0" indent="0">
              <a:lnSpc>
                <a:spcPct val="150000"/>
              </a:lnSpc>
              <a:buFont typeface="Arial" panose="020B0604020202020204" pitchFamily="34" charset="0"/>
              <a:buNone/>
            </a:pPr>
            <a:r>
              <a:rPr lang="en-US" sz="2400">
                <a:solidFill>
                  <a:schemeClr val="bg1"/>
                </a:solidFill>
                <a:latin typeface="Arial" panose="020B0604020202020204" pitchFamily="34" charset="0"/>
                <a:cs typeface="Arial" panose="020B0604020202020204" pitchFamily="34" charset="0"/>
              </a:rPr>
              <a:t>Good luck, Commander!</a:t>
            </a:r>
            <a:endParaRPr lang="de-DE" dirty="0">
              <a:solidFill>
                <a:schemeClr val="bg1"/>
              </a:solidFill>
              <a:latin typeface="Arial" panose="020B0604020202020204" pitchFamily="34" charset="0"/>
              <a:cs typeface="Arial" panose="020B0604020202020204" pitchFamily="34" charset="0"/>
            </a:endParaRPr>
          </a:p>
        </p:txBody>
      </p:sp>
      <p:pic>
        <p:nvPicPr>
          <p:cNvPr id="3" name="Fallen Haven 2 - Double Star">
            <a:hlinkClick r:id="" action="ppaction://media"/>
            <a:extLst>
              <a:ext uri="{FF2B5EF4-FFF2-40B4-BE49-F238E27FC236}">
                <a16:creationId xmlns:a16="http://schemas.microsoft.com/office/drawing/2014/main" id="{41835900-20A8-A931-3B0D-6B2A11EB60E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1049" y="5839253"/>
            <a:ext cx="406400" cy="406400"/>
          </a:xfrm>
          <a:prstGeom prst="rect">
            <a:avLst/>
          </a:prstGeom>
        </p:spPr>
      </p:pic>
      <p:sp>
        <p:nvSpPr>
          <p:cNvPr id="5" name="Rectangle: Rounded Corners 4">
            <a:extLst>
              <a:ext uri="{FF2B5EF4-FFF2-40B4-BE49-F238E27FC236}">
                <a16:creationId xmlns:a16="http://schemas.microsoft.com/office/drawing/2014/main" id="{828234F1-51C7-93E5-E9CB-25B908DFE3F4}"/>
              </a:ext>
            </a:extLst>
          </p:cNvPr>
          <p:cNvSpPr/>
          <p:nvPr/>
        </p:nvSpPr>
        <p:spPr>
          <a:xfrm>
            <a:off x="4965786" y="4580896"/>
            <a:ext cx="6858000" cy="1240542"/>
          </a:xfrm>
          <a:prstGeom prst="roundRect">
            <a:avLst>
              <a:gd name="adj" fmla="val 13535"/>
            </a:avLst>
          </a:prstGeom>
          <a:solidFill>
            <a:srgbClr val="000000">
              <a:alpha val="47843"/>
            </a:srgbClr>
          </a:solidFill>
          <a:ln w="38100">
            <a:solidFill>
              <a:srgbClr val="72A4A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T" dirty="0"/>
          </a:p>
        </p:txBody>
      </p:sp>
      <p:sp>
        <p:nvSpPr>
          <p:cNvPr id="4" name="TextBox 3">
            <a:extLst>
              <a:ext uri="{FF2B5EF4-FFF2-40B4-BE49-F238E27FC236}">
                <a16:creationId xmlns:a16="http://schemas.microsoft.com/office/drawing/2014/main" id="{90F4A58E-6974-498C-D642-833F9315A6D3}"/>
              </a:ext>
            </a:extLst>
          </p:cNvPr>
          <p:cNvSpPr txBox="1"/>
          <p:nvPr/>
        </p:nvSpPr>
        <p:spPr>
          <a:xfrm>
            <a:off x="5313406" y="4878001"/>
            <a:ext cx="6621590" cy="646331"/>
          </a:xfrm>
          <a:prstGeom prst="rect">
            <a:avLst/>
          </a:prstGeom>
          <a:noFill/>
        </p:spPr>
        <p:txBody>
          <a:bodyPr wrap="square">
            <a:spAutoFit/>
          </a:bodyPr>
          <a:lstStyle/>
          <a:p>
            <a:pPr marL="0" indent="0">
              <a:lnSpc>
                <a:spcPct val="100000"/>
              </a:lnSpc>
              <a:buNone/>
            </a:pPr>
            <a:r>
              <a:rPr lang="en-US" sz="3600" dirty="0">
                <a:solidFill>
                  <a:srgbClr val="FFF69F"/>
                </a:solidFill>
                <a:latin typeface="Arial" panose="020B0604020202020204" pitchFamily="34" charset="0"/>
                <a:cs typeface="Arial" panose="020B0604020202020204" pitchFamily="34" charset="0"/>
              </a:rPr>
              <a:t>checkout branch “mothership”</a:t>
            </a:r>
          </a:p>
        </p:txBody>
      </p:sp>
    </p:spTree>
    <p:extLst>
      <p:ext uri="{BB962C8B-B14F-4D97-AF65-F5344CB8AC3E}">
        <p14:creationId xmlns:p14="http://schemas.microsoft.com/office/powerpoint/2010/main" val="200241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886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42857">
                <p:cTn id="7" fill="hold" display="0">
                  <p:stCondLst>
                    <p:cond delay="indefinite"/>
                  </p:stCondLst>
                  <p:endCondLst>
                    <p:cond evt="onStopAudio" delay="0">
                      <p:tgtEl>
                        <p:sldTgt/>
                      </p:tgtEl>
                    </p:cond>
                  </p:endCondLst>
                </p:cTn>
                <p:tgtEl>
                  <p:spTgt spid="3"/>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776B2-B000-499C-970F-E576F6FF21AD}"/>
            </a:ext>
          </a:extLst>
        </p:cNvPr>
        <p:cNvGrpSpPr/>
        <p:nvPr/>
      </p:nvGrpSpPr>
      <p:grpSpPr>
        <a:xfrm>
          <a:off x="0" y="0"/>
          <a:ext cx="0" cy="0"/>
          <a:chOff x="0" y="0"/>
          <a:chExt cx="0" cy="0"/>
        </a:xfrm>
      </p:grpSpPr>
      <p:sp>
        <p:nvSpPr>
          <p:cNvPr id="2" name="Rectangle 5">
            <a:extLst>
              <a:ext uri="{FF2B5EF4-FFF2-40B4-BE49-F238E27FC236}">
                <a16:creationId xmlns:a16="http://schemas.microsoft.com/office/drawing/2014/main" id="{87117821-C9B6-9149-581B-72FB85F0E3A1}"/>
              </a:ext>
            </a:extLst>
          </p:cNvPr>
          <p:cNvSpPr/>
          <p:nvPr/>
        </p:nvSpPr>
        <p:spPr>
          <a:xfrm>
            <a:off x="2103065" y="448"/>
            <a:ext cx="3474720" cy="6857103"/>
          </a:xfrm>
          <a:prstGeom prst="rect">
            <a:avLst/>
          </a:prstGeom>
          <a:solidFill>
            <a:srgbClr val="EDF5FF"/>
          </a:solidFill>
          <a:ln w="19046" cap="flat">
            <a:solidFill>
              <a:srgbClr val="E5F6FF"/>
            </a:solidFill>
            <a:prstDash val="solid"/>
            <a:miter/>
          </a:ln>
        </p:spPr>
        <p:txBody>
          <a:bodyPr vert="horz" wrap="square" lIns="34290" tIns="34290" rIns="34290" bIns="34290" anchor="t" anchorCtr="0" compatLnSpc="1">
            <a:noAutofit/>
          </a:bodyPr>
          <a:lstStyle/>
          <a:p>
            <a:pPr marL="0" marR="0" lvl="0" indent="0" algn="l" defTabSz="3429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525"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3" name="Text Placeholder 26">
            <a:extLst>
              <a:ext uri="{FF2B5EF4-FFF2-40B4-BE49-F238E27FC236}">
                <a16:creationId xmlns:a16="http://schemas.microsoft.com/office/drawing/2014/main" id="{574BE965-D27E-CEF8-DED0-27BC1F8BED2A}"/>
              </a:ext>
            </a:extLst>
          </p:cNvPr>
          <p:cNvSpPr txBox="1"/>
          <p:nvPr/>
        </p:nvSpPr>
        <p:spPr>
          <a:xfrm>
            <a:off x="2392646" y="241557"/>
            <a:ext cx="3127402" cy="1209796"/>
          </a:xfrm>
          <a:prstGeom prst="rect">
            <a:avLst/>
          </a:prstGeom>
          <a:noFill/>
          <a:ln cap="flat">
            <a:noFill/>
          </a:ln>
        </p:spPr>
        <p:txBody>
          <a:bodyPr vert="horz" wrap="square" lIns="0" tIns="0" rIns="0" bIns="0" anchor="t" anchorCtr="0" compatLnSpc="1">
            <a:noAutofit/>
          </a:bodyPr>
          <a:lstStyle/>
          <a:p>
            <a:pPr marL="0" marR="0" lvl="0" indent="0" algn="l" defTabSz="2438403"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32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rPr>
              <a:t>AI that can </a:t>
            </a:r>
            <a:br>
              <a:rPr kumimoji="0" lang="en-GB" sz="32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rPr>
            </a:br>
            <a:r>
              <a:rPr kumimoji="0" lang="en-GB" sz="3200" b="0" i="0" u="none" strike="noStrike" kern="0" cap="none" spc="0" normalizeH="0" baseline="0" noProof="0">
                <a:ln>
                  <a:noFill/>
                </a:ln>
                <a:solidFill>
                  <a:srgbClr val="0F62FE"/>
                </a:solidFill>
                <a:effectLst/>
                <a:uLnTx/>
                <a:uFillTx/>
                <a:latin typeface="IBM Plex Sans ExtLt" panose="020B0303050203000203" pitchFamily="34" charset="0"/>
                <a:ea typeface="+mn-ea"/>
                <a:cs typeface="+mn-cs"/>
              </a:rPr>
              <a:t>generate for you</a:t>
            </a:r>
            <a:endParaRPr kumimoji="0" lang="en-US" sz="3200" b="0" i="0" u="none" strike="noStrike" kern="0" cap="none" spc="0" normalizeH="0" baseline="0" noProof="0">
              <a:ln>
                <a:noFill/>
              </a:ln>
              <a:solidFill>
                <a:srgbClr val="0F62FE"/>
              </a:solidFill>
              <a:effectLst/>
              <a:uLnTx/>
              <a:uFillTx/>
              <a:latin typeface="IBM Plex Sans ExtLt" panose="020B0303050203000203" pitchFamily="34" charset="0"/>
              <a:ea typeface="+mn-ea"/>
              <a:cs typeface="+mn-cs"/>
            </a:endParaRPr>
          </a:p>
        </p:txBody>
      </p:sp>
      <p:sp>
        <p:nvSpPr>
          <p:cNvPr id="4" name="Image 3" descr="Vector">
            <a:extLst>
              <a:ext uri="{FF2B5EF4-FFF2-40B4-BE49-F238E27FC236}">
                <a16:creationId xmlns:a16="http://schemas.microsoft.com/office/drawing/2014/main" id="{8D7C924B-12D5-A8BA-0F4A-C861AF9DB305}"/>
              </a:ext>
            </a:extLst>
          </p:cNvPr>
          <p:cNvSpPr/>
          <p:nvPr/>
        </p:nvSpPr>
        <p:spPr>
          <a:xfrm>
            <a:off x="2448241" y="1670096"/>
            <a:ext cx="513261" cy="564385"/>
          </a:xfrm>
          <a:custGeom>
            <a:avLst/>
            <a:gdLst>
              <a:gd name="f0" fmla="val 10800000"/>
              <a:gd name="f1" fmla="val 5400000"/>
              <a:gd name="f2" fmla="val 180"/>
              <a:gd name="f3" fmla="val w"/>
              <a:gd name="f4" fmla="val h"/>
              <a:gd name="f5" fmla="val 0"/>
              <a:gd name="f6" fmla="val 513265"/>
              <a:gd name="f7" fmla="val 564388"/>
              <a:gd name="f8" fmla="val 256633"/>
              <a:gd name="f9" fmla="val 255499"/>
              <a:gd name="f10" fmla="val 254385"/>
              <a:gd name="f11" fmla="val 564111"/>
              <a:gd name="f12" fmla="val 253348"/>
              <a:gd name="f13" fmla="val 563599"/>
              <a:gd name="f14" fmla="val 3630"/>
              <a:gd name="f15" fmla="val 434997"/>
              <a:gd name="f16" fmla="val 1402"/>
              <a:gd name="f17" fmla="val 433838"/>
              <a:gd name="f18" fmla="val 431616"/>
              <a:gd name="f19" fmla="val 429173"/>
              <a:gd name="f20" fmla="val 135225"/>
              <a:gd name="f21" fmla="val 132800"/>
              <a:gd name="f22" fmla="val 130559"/>
              <a:gd name="f23" fmla="val 129401"/>
              <a:gd name="f24" fmla="val 799"/>
              <a:gd name="f25" fmla="val 255403"/>
              <a:gd name="f26" fmla="val -266"/>
              <a:gd name="f27" fmla="val 257843"/>
              <a:gd name="f28" fmla="val 259917"/>
              <a:gd name="f29" fmla="val 509634"/>
              <a:gd name="f30" fmla="val 511865"/>
              <a:gd name="f31" fmla="val 258880"/>
              <a:gd name="f32" fmla="val 564132"/>
              <a:gd name="f33" fmla="val 257766"/>
              <a:gd name="f34" fmla="val 263548"/>
              <a:gd name="f35" fmla="val 267777"/>
              <a:gd name="f36" fmla="val 546714"/>
              <a:gd name="f37" fmla="val 499435"/>
              <a:gd name="f38" fmla="val 425242"/>
              <a:gd name="f39" fmla="val 146303"/>
              <a:gd name="f40" fmla="val 13831"/>
              <a:gd name="f41" fmla="val 425221"/>
              <a:gd name="f42" fmla="val 249717"/>
              <a:gd name="f43" fmla="val 546697"/>
              <a:gd name="f44" fmla="val 21495"/>
              <a:gd name="f45" fmla="val 256313"/>
              <a:gd name="f46" fmla="val 491751"/>
              <a:gd name="f47" fmla="val 14137"/>
              <a:gd name="f48" fmla="+- 0 0 -90"/>
              <a:gd name="f49" fmla="*/ f3 1 513265"/>
              <a:gd name="f50" fmla="*/ f4 1 564388"/>
              <a:gd name="f51" fmla="val f5"/>
              <a:gd name="f52" fmla="val f6"/>
              <a:gd name="f53" fmla="val f7"/>
              <a:gd name="f54" fmla="*/ f48 f0 1"/>
              <a:gd name="f55" fmla="+- f53 0 f51"/>
              <a:gd name="f56" fmla="+- f52 0 f51"/>
              <a:gd name="f57" fmla="*/ f54 1 f2"/>
              <a:gd name="f58" fmla="*/ f56 1 513265"/>
              <a:gd name="f59" fmla="*/ f55 1 564388"/>
              <a:gd name="f60" fmla="*/ 256633 f56 1"/>
              <a:gd name="f61" fmla="*/ 564388 f55 1"/>
              <a:gd name="f62" fmla="*/ 253348 f56 1"/>
              <a:gd name="f63" fmla="*/ 563599 f55 1"/>
              <a:gd name="f64" fmla="*/ 3630 f56 1"/>
              <a:gd name="f65" fmla="*/ 434997 f55 1"/>
              <a:gd name="f66" fmla="*/ 0 f56 1"/>
              <a:gd name="f67" fmla="*/ 429173 f55 1"/>
              <a:gd name="f68" fmla="*/ 135225 f55 1"/>
              <a:gd name="f69" fmla="*/ 129401 f55 1"/>
              <a:gd name="f70" fmla="*/ 799 f55 1"/>
              <a:gd name="f71" fmla="*/ 259917 f56 1"/>
              <a:gd name="f72" fmla="*/ 509634 f56 1"/>
              <a:gd name="f73" fmla="*/ 513265 f56 1"/>
              <a:gd name="f74" fmla="*/ 263548 f56 1"/>
              <a:gd name="f75" fmla="*/ 267777 f55 1"/>
              <a:gd name="f76" fmla="*/ 546714 f55 1"/>
              <a:gd name="f77" fmla="*/ 499435 f56 1"/>
              <a:gd name="f78" fmla="*/ 425242 f55 1"/>
              <a:gd name="f79" fmla="*/ 146303 f55 1"/>
              <a:gd name="f80" fmla="*/ 13831 f56 1"/>
              <a:gd name="f81" fmla="*/ 425221 f55 1"/>
              <a:gd name="f82" fmla="*/ 249717 f56 1"/>
              <a:gd name="f83" fmla="*/ 546697 f55 1"/>
              <a:gd name="f84" fmla="*/ 21495 f56 1"/>
              <a:gd name="f85" fmla="*/ 256313 f55 1"/>
              <a:gd name="f86" fmla="*/ 491751 f56 1"/>
              <a:gd name="f87" fmla="*/ 14137 f55 1"/>
              <a:gd name="f88" fmla="+- f57 0 f1"/>
              <a:gd name="f89" fmla="*/ f60 1 513265"/>
              <a:gd name="f90" fmla="*/ f61 1 564388"/>
              <a:gd name="f91" fmla="*/ f62 1 513265"/>
              <a:gd name="f92" fmla="*/ f63 1 564388"/>
              <a:gd name="f93" fmla="*/ f64 1 513265"/>
              <a:gd name="f94" fmla="*/ f65 1 564388"/>
              <a:gd name="f95" fmla="*/ f66 1 513265"/>
              <a:gd name="f96" fmla="*/ f67 1 564388"/>
              <a:gd name="f97" fmla="*/ f68 1 564388"/>
              <a:gd name="f98" fmla="*/ f69 1 564388"/>
              <a:gd name="f99" fmla="*/ f70 1 564388"/>
              <a:gd name="f100" fmla="*/ f71 1 513265"/>
              <a:gd name="f101" fmla="*/ f72 1 513265"/>
              <a:gd name="f102" fmla="*/ f73 1 513265"/>
              <a:gd name="f103" fmla="*/ f74 1 513265"/>
              <a:gd name="f104" fmla="*/ f75 1 564388"/>
              <a:gd name="f105" fmla="*/ f76 1 564388"/>
              <a:gd name="f106" fmla="*/ f77 1 513265"/>
              <a:gd name="f107" fmla="*/ f78 1 564388"/>
              <a:gd name="f108" fmla="*/ f79 1 564388"/>
              <a:gd name="f109" fmla="*/ f80 1 513265"/>
              <a:gd name="f110" fmla="*/ f81 1 564388"/>
              <a:gd name="f111" fmla="*/ f82 1 513265"/>
              <a:gd name="f112" fmla="*/ f83 1 564388"/>
              <a:gd name="f113" fmla="*/ f84 1 513265"/>
              <a:gd name="f114" fmla="*/ f85 1 564388"/>
              <a:gd name="f115" fmla="*/ f86 1 513265"/>
              <a:gd name="f116" fmla="*/ f87 1 564388"/>
              <a:gd name="f117" fmla="*/ f51 1 f58"/>
              <a:gd name="f118" fmla="*/ f52 1 f58"/>
              <a:gd name="f119" fmla="*/ f51 1 f59"/>
              <a:gd name="f120" fmla="*/ f53 1 f59"/>
              <a:gd name="f121" fmla="*/ f89 1 f58"/>
              <a:gd name="f122" fmla="*/ f90 1 f59"/>
              <a:gd name="f123" fmla="*/ f91 1 f58"/>
              <a:gd name="f124" fmla="*/ f92 1 f59"/>
              <a:gd name="f125" fmla="*/ f93 1 f58"/>
              <a:gd name="f126" fmla="*/ f94 1 f59"/>
              <a:gd name="f127" fmla="*/ f95 1 f58"/>
              <a:gd name="f128" fmla="*/ f96 1 f59"/>
              <a:gd name="f129" fmla="*/ f97 1 f59"/>
              <a:gd name="f130" fmla="*/ f98 1 f59"/>
              <a:gd name="f131" fmla="*/ f99 1 f59"/>
              <a:gd name="f132" fmla="*/ f100 1 f58"/>
              <a:gd name="f133" fmla="*/ f101 1 f58"/>
              <a:gd name="f134" fmla="*/ f102 1 f58"/>
              <a:gd name="f135" fmla="*/ f103 1 f58"/>
              <a:gd name="f136" fmla="*/ f104 1 f59"/>
              <a:gd name="f137" fmla="*/ f105 1 f59"/>
              <a:gd name="f138" fmla="*/ f106 1 f58"/>
              <a:gd name="f139" fmla="*/ f107 1 f59"/>
              <a:gd name="f140" fmla="*/ f108 1 f59"/>
              <a:gd name="f141" fmla="*/ f109 1 f58"/>
              <a:gd name="f142" fmla="*/ f110 1 f59"/>
              <a:gd name="f143" fmla="*/ f111 1 f58"/>
              <a:gd name="f144" fmla="*/ f112 1 f59"/>
              <a:gd name="f145" fmla="*/ f113 1 f58"/>
              <a:gd name="f146" fmla="*/ f114 1 f59"/>
              <a:gd name="f147" fmla="*/ f115 1 f58"/>
              <a:gd name="f148" fmla="*/ f116 1 f59"/>
              <a:gd name="f149" fmla="*/ f117 f49 1"/>
              <a:gd name="f150" fmla="*/ f118 f49 1"/>
              <a:gd name="f151" fmla="*/ f120 f50 1"/>
              <a:gd name="f152" fmla="*/ f119 f50 1"/>
              <a:gd name="f153" fmla="*/ f121 f49 1"/>
              <a:gd name="f154" fmla="*/ f122 f50 1"/>
              <a:gd name="f155" fmla="*/ f123 f49 1"/>
              <a:gd name="f156" fmla="*/ f124 f50 1"/>
              <a:gd name="f157" fmla="*/ f125 f49 1"/>
              <a:gd name="f158" fmla="*/ f126 f50 1"/>
              <a:gd name="f159" fmla="*/ f127 f49 1"/>
              <a:gd name="f160" fmla="*/ f128 f50 1"/>
              <a:gd name="f161" fmla="*/ f129 f50 1"/>
              <a:gd name="f162" fmla="*/ f130 f50 1"/>
              <a:gd name="f163" fmla="*/ f131 f50 1"/>
              <a:gd name="f164" fmla="*/ f132 f49 1"/>
              <a:gd name="f165" fmla="*/ f133 f49 1"/>
              <a:gd name="f166" fmla="*/ f134 f49 1"/>
              <a:gd name="f167" fmla="*/ f135 f49 1"/>
              <a:gd name="f168" fmla="*/ f136 f50 1"/>
              <a:gd name="f169" fmla="*/ f137 f50 1"/>
              <a:gd name="f170" fmla="*/ f138 f49 1"/>
              <a:gd name="f171" fmla="*/ f139 f50 1"/>
              <a:gd name="f172" fmla="*/ f140 f50 1"/>
              <a:gd name="f173" fmla="*/ f141 f49 1"/>
              <a:gd name="f174" fmla="*/ f142 f50 1"/>
              <a:gd name="f175" fmla="*/ f143 f49 1"/>
              <a:gd name="f176" fmla="*/ f144 f50 1"/>
              <a:gd name="f177" fmla="*/ f145 f49 1"/>
              <a:gd name="f178" fmla="*/ f146 f50 1"/>
              <a:gd name="f179" fmla="*/ f147 f49 1"/>
              <a:gd name="f180" fmla="*/ f148 f50 1"/>
            </a:gdLst>
            <a:ahLst/>
            <a:cxnLst>
              <a:cxn ang="3cd4">
                <a:pos x="hc" y="t"/>
              </a:cxn>
              <a:cxn ang="0">
                <a:pos x="r" y="vc"/>
              </a:cxn>
              <a:cxn ang="cd4">
                <a:pos x="hc" y="b"/>
              </a:cxn>
              <a:cxn ang="cd2">
                <a:pos x="l" y="vc"/>
              </a:cxn>
              <a:cxn ang="f88">
                <a:pos x="f153" y="f154"/>
              </a:cxn>
              <a:cxn ang="f88">
                <a:pos x="f155" y="f156"/>
              </a:cxn>
              <a:cxn ang="f88">
                <a:pos x="f157" y="f158"/>
              </a:cxn>
              <a:cxn ang="f88">
                <a:pos x="f159" y="f160"/>
              </a:cxn>
              <a:cxn ang="f88">
                <a:pos x="f159" y="f161"/>
              </a:cxn>
              <a:cxn ang="f88">
                <a:pos x="f157" y="f162"/>
              </a:cxn>
              <a:cxn ang="f88">
                <a:pos x="f155" y="f163"/>
              </a:cxn>
              <a:cxn ang="f88">
                <a:pos x="f164" y="f163"/>
              </a:cxn>
              <a:cxn ang="f88">
                <a:pos x="f165" y="f162"/>
              </a:cxn>
              <a:cxn ang="f88">
                <a:pos x="f166" y="f161"/>
              </a:cxn>
              <a:cxn ang="f88">
                <a:pos x="f166" y="f160"/>
              </a:cxn>
              <a:cxn ang="f88">
                <a:pos x="f165" y="f158"/>
              </a:cxn>
              <a:cxn ang="f88">
                <a:pos x="f164" y="f156"/>
              </a:cxn>
              <a:cxn ang="f88">
                <a:pos x="f153" y="f154"/>
              </a:cxn>
              <a:cxn ang="f88">
                <a:pos x="f167" y="f168"/>
              </a:cxn>
              <a:cxn ang="f88">
                <a:pos x="f167" y="f169"/>
              </a:cxn>
              <a:cxn ang="f88">
                <a:pos x="f170" y="f171"/>
              </a:cxn>
              <a:cxn ang="f88">
                <a:pos x="f170" y="f172"/>
              </a:cxn>
              <a:cxn ang="f88">
                <a:pos x="f167" y="f168"/>
              </a:cxn>
              <a:cxn ang="f88">
                <a:pos x="f173" y="f174"/>
              </a:cxn>
              <a:cxn ang="f88">
                <a:pos x="f175" y="f176"/>
              </a:cxn>
              <a:cxn ang="f88">
                <a:pos x="f175" y="f168"/>
              </a:cxn>
              <a:cxn ang="f88">
                <a:pos x="f173" y="f172"/>
              </a:cxn>
              <a:cxn ang="f88">
                <a:pos x="f173" y="f174"/>
              </a:cxn>
              <a:cxn ang="f88">
                <a:pos x="f177" y="f161"/>
              </a:cxn>
              <a:cxn ang="f88">
                <a:pos x="f153" y="f178"/>
              </a:cxn>
              <a:cxn ang="f88">
                <a:pos x="f179" y="f161"/>
              </a:cxn>
              <a:cxn ang="f88">
                <a:pos x="f153" y="f180"/>
              </a:cxn>
              <a:cxn ang="f88">
                <a:pos x="f177" y="f161"/>
              </a:cxn>
            </a:cxnLst>
            <a:rect l="f149" t="f152" r="f150" b="f151"/>
            <a:pathLst>
              <a:path w="513265" h="564388">
                <a:moveTo>
                  <a:pt x="f8" y="f7"/>
                </a:moveTo>
                <a:cubicBezTo>
                  <a:pt x="f9" y="f7"/>
                  <a:pt x="f10" y="f11"/>
                  <a:pt x="f12" y="f13"/>
                </a:cubicBezTo>
                <a:lnTo>
                  <a:pt x="f14" y="f15"/>
                </a:lnTo>
                <a:cubicBezTo>
                  <a:pt x="f16" y="f17"/>
                  <a:pt x="f5" y="f18"/>
                  <a:pt x="f5" y="f19"/>
                </a:cubicBezTo>
                <a:lnTo>
                  <a:pt x="f5" y="f20"/>
                </a:lnTo>
                <a:cubicBezTo>
                  <a:pt x="f5" y="f21"/>
                  <a:pt x="f16" y="f22"/>
                  <a:pt x="f14" y="f23"/>
                </a:cubicBezTo>
                <a:lnTo>
                  <a:pt x="f12" y="f24"/>
                </a:lnTo>
                <a:cubicBezTo>
                  <a:pt x="f25" y="f26"/>
                  <a:pt x="f27" y="f26"/>
                  <a:pt x="f28" y="f24"/>
                </a:cubicBezTo>
                <a:lnTo>
                  <a:pt x="f29" y="f23"/>
                </a:lnTo>
                <a:cubicBezTo>
                  <a:pt x="f30" y="f22"/>
                  <a:pt x="f6" y="f21"/>
                  <a:pt x="f6" y="f20"/>
                </a:cubicBezTo>
                <a:lnTo>
                  <a:pt x="f6" y="f19"/>
                </a:lnTo>
                <a:cubicBezTo>
                  <a:pt x="f6" y="f18"/>
                  <a:pt x="f30" y="f17"/>
                  <a:pt x="f29" y="f15"/>
                </a:cubicBezTo>
                <a:lnTo>
                  <a:pt x="f28" y="f13"/>
                </a:lnTo>
                <a:cubicBezTo>
                  <a:pt x="f31" y="f32"/>
                  <a:pt x="f33" y="f7"/>
                  <a:pt x="f8" y="f7"/>
                </a:cubicBezTo>
                <a:close/>
                <a:moveTo>
                  <a:pt x="f34" y="f35"/>
                </a:moveTo>
                <a:lnTo>
                  <a:pt x="f34" y="f36"/>
                </a:lnTo>
                <a:lnTo>
                  <a:pt x="f37" y="f38"/>
                </a:lnTo>
                <a:lnTo>
                  <a:pt x="f37" y="f39"/>
                </a:lnTo>
                <a:lnTo>
                  <a:pt x="f34" y="f35"/>
                </a:lnTo>
                <a:close/>
                <a:moveTo>
                  <a:pt x="f40" y="f41"/>
                </a:moveTo>
                <a:lnTo>
                  <a:pt x="f42" y="f43"/>
                </a:lnTo>
                <a:lnTo>
                  <a:pt x="f42" y="f35"/>
                </a:lnTo>
                <a:lnTo>
                  <a:pt x="f40" y="f39"/>
                </a:lnTo>
                <a:lnTo>
                  <a:pt x="f40" y="f41"/>
                </a:lnTo>
                <a:close/>
                <a:moveTo>
                  <a:pt x="f44" y="f20"/>
                </a:moveTo>
                <a:lnTo>
                  <a:pt x="f8" y="f45"/>
                </a:lnTo>
                <a:lnTo>
                  <a:pt x="f46" y="f20"/>
                </a:lnTo>
                <a:lnTo>
                  <a:pt x="f8" y="f47"/>
                </a:lnTo>
                <a:lnTo>
                  <a:pt x="f44" y="f20"/>
                </a:lnTo>
                <a:close/>
              </a:path>
            </a:pathLst>
          </a:custGeom>
          <a:solidFill>
            <a:srgbClr val="8D8D8D"/>
          </a:solidFill>
          <a:ln cap="flat">
            <a:noFill/>
            <a:prstDash val="solid"/>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5" name="Image 4" descr="Frame 2018779479">
            <a:extLst>
              <a:ext uri="{FF2B5EF4-FFF2-40B4-BE49-F238E27FC236}">
                <a16:creationId xmlns:a16="http://schemas.microsoft.com/office/drawing/2014/main" id="{F875F722-0C24-D139-7818-632AA57ED699}"/>
              </a:ext>
            </a:extLst>
          </p:cNvPr>
          <p:cNvPicPr>
            <a:picLocks noChangeAspect="1"/>
          </p:cNvPicPr>
          <p:nvPr/>
        </p:nvPicPr>
        <p:blipFill>
          <a:blip r:embed="rId3"/>
          <a:stretch>
            <a:fillRect/>
          </a:stretch>
        </p:blipFill>
        <p:spPr>
          <a:xfrm>
            <a:off x="2392646" y="2820357"/>
            <a:ext cx="1564483" cy="900821"/>
          </a:xfrm>
          <a:prstGeom prst="rect">
            <a:avLst/>
          </a:prstGeom>
          <a:noFill/>
          <a:ln cap="flat">
            <a:noFill/>
          </a:ln>
        </p:spPr>
      </p:pic>
      <p:sp>
        <p:nvSpPr>
          <p:cNvPr id="6" name="Text 0">
            <a:extLst>
              <a:ext uri="{FF2B5EF4-FFF2-40B4-BE49-F238E27FC236}">
                <a16:creationId xmlns:a16="http://schemas.microsoft.com/office/drawing/2014/main" id="{D06437DA-01EC-F1BA-8C37-4DD7DA60E57E}"/>
              </a:ext>
            </a:extLst>
          </p:cNvPr>
          <p:cNvSpPr txBox="1"/>
          <p:nvPr/>
        </p:nvSpPr>
        <p:spPr>
          <a:xfrm>
            <a:off x="2392646" y="2444008"/>
            <a:ext cx="1616156" cy="220955"/>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575"/>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1200" cap="none" spc="0" normalizeH="0" baseline="0" noProof="0">
                <a:ln>
                  <a:noFill/>
                </a:ln>
                <a:solidFill>
                  <a:srgbClr val="000000"/>
                </a:solidFill>
                <a:effectLst/>
                <a:uLnTx/>
                <a:uFillTx/>
                <a:latin typeface="IBM Plex Sans Light" pitchFamily="34"/>
                <a:ea typeface="IBM Plex Sans Regular" pitchFamily="34"/>
                <a:cs typeface="IBM Plex Sans Regular" pitchFamily="34"/>
              </a:rPr>
              <a:t>Models</a:t>
            </a:r>
            <a:endParaRPr kumimoji="0" lang="en-US" sz="1600" b="0" i="0" u="none" strike="noStrike" kern="1200" cap="none" spc="0" normalizeH="0" baseline="0" noProof="0">
              <a:ln>
                <a:noFill/>
              </a:ln>
              <a:solidFill>
                <a:srgbClr val="000000"/>
              </a:solidFill>
              <a:effectLst/>
              <a:uLnTx/>
              <a:uFillTx/>
              <a:latin typeface="IBM Plex Sans Light" pitchFamily="34"/>
              <a:ea typeface="+mn-ea"/>
              <a:cs typeface="+mn-cs"/>
            </a:endParaRPr>
          </a:p>
        </p:txBody>
      </p:sp>
      <p:sp>
        <p:nvSpPr>
          <p:cNvPr id="7" name="Text 1">
            <a:extLst>
              <a:ext uri="{FF2B5EF4-FFF2-40B4-BE49-F238E27FC236}">
                <a16:creationId xmlns:a16="http://schemas.microsoft.com/office/drawing/2014/main" id="{DC6F03D6-ACBE-8C63-B127-A1EE33B9B3ED}"/>
              </a:ext>
            </a:extLst>
          </p:cNvPr>
          <p:cNvSpPr txBox="1"/>
          <p:nvPr/>
        </p:nvSpPr>
        <p:spPr>
          <a:xfrm>
            <a:off x="2392646" y="2911870"/>
            <a:ext cx="1611017" cy="573639"/>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Bold" pitchFamily="34"/>
                <a:cs typeface="IBM Plex Sans Bold" pitchFamily="34"/>
              </a:rPr>
              <a:t>​Next Token Prediction</a:t>
            </a: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000000"/>
                </a:solidFill>
                <a:effectLst/>
                <a:uLnTx/>
                <a:uFillTx/>
                <a:latin typeface="IBM Plex Sans" pitchFamily="34"/>
                <a:ea typeface="IBM Plex Sans Regular" pitchFamily="34"/>
                <a:cs typeface="IBM Plex Sans Regular" pitchFamily="34"/>
              </a:rPr>
              <a:t>Text Generation</a:t>
            </a: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Pattern matching</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p:txBody>
      </p:sp>
      <p:sp>
        <p:nvSpPr>
          <p:cNvPr id="8" name="Rectangle 8">
            <a:extLst>
              <a:ext uri="{FF2B5EF4-FFF2-40B4-BE49-F238E27FC236}">
                <a16:creationId xmlns:a16="http://schemas.microsoft.com/office/drawing/2014/main" id="{F399DB4E-DD48-7886-150F-183FE4BDDED2}"/>
              </a:ext>
            </a:extLst>
          </p:cNvPr>
          <p:cNvSpPr/>
          <p:nvPr/>
        </p:nvSpPr>
        <p:spPr>
          <a:xfrm>
            <a:off x="5540503" y="448"/>
            <a:ext cx="3038780" cy="6857103"/>
          </a:xfrm>
          <a:prstGeom prst="rect">
            <a:avLst/>
          </a:prstGeom>
          <a:solidFill>
            <a:srgbClr val="D9FBFB"/>
          </a:solidFill>
          <a:ln w="19046" cap="flat">
            <a:solidFill>
              <a:srgbClr val="E5F6FF"/>
            </a:solidFill>
            <a:prstDash val="solid"/>
            <a:miter/>
          </a:ln>
        </p:spPr>
        <p:txBody>
          <a:bodyPr vert="horz" wrap="square" lIns="45710" tIns="45710" rIns="45710" bIns="45710" anchor="t" anchorCtr="0" compatLnSpc="1">
            <a:noAutofit/>
          </a:bodyPr>
          <a:lstStyle/>
          <a:p>
            <a:pPr marL="0" marR="0" lvl="0" indent="0" algn="l" defTabSz="45719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9" name="Rectangle 11">
            <a:extLst>
              <a:ext uri="{FF2B5EF4-FFF2-40B4-BE49-F238E27FC236}">
                <a16:creationId xmlns:a16="http://schemas.microsoft.com/office/drawing/2014/main" id="{48FCD195-6D86-AB96-3312-564C77DB7EF1}"/>
              </a:ext>
            </a:extLst>
          </p:cNvPr>
          <p:cNvSpPr/>
          <p:nvPr/>
        </p:nvSpPr>
        <p:spPr>
          <a:xfrm>
            <a:off x="8509543" y="896"/>
            <a:ext cx="3749039" cy="6857103"/>
          </a:xfrm>
          <a:prstGeom prst="rect">
            <a:avLst/>
          </a:prstGeom>
          <a:solidFill>
            <a:srgbClr val="F4F4F4"/>
          </a:solidFill>
          <a:ln cap="flat">
            <a:noFill/>
            <a:prstDash val="solid"/>
          </a:ln>
        </p:spPr>
        <p:txBody>
          <a:bodyPr vert="horz" wrap="square" lIns="45710" tIns="45710" rIns="45710" bIns="45710" anchor="t" anchorCtr="0" compatLnSpc="1">
            <a:noAutofit/>
          </a:bodyPr>
          <a:lstStyle/>
          <a:p>
            <a:pPr marL="0" marR="0" lvl="0" indent="0" algn="l" defTabSz="45719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2" name="Text Placeholder 27">
            <a:extLst>
              <a:ext uri="{FF2B5EF4-FFF2-40B4-BE49-F238E27FC236}">
                <a16:creationId xmlns:a16="http://schemas.microsoft.com/office/drawing/2014/main" id="{A6D4DB38-D4F2-CEE3-A97E-09D576997BA7}"/>
              </a:ext>
            </a:extLst>
          </p:cNvPr>
          <p:cNvSpPr txBox="1">
            <a:spLocks noGrp="1"/>
          </p:cNvSpPr>
          <p:nvPr>
            <p:ph type="body" idx="4294967295"/>
          </p:nvPr>
        </p:nvSpPr>
        <p:spPr>
          <a:xfrm>
            <a:off x="5844783" y="267114"/>
            <a:ext cx="2475381" cy="1202371"/>
          </a:xfrm>
        </p:spPr>
        <p:txBody>
          <a:bodyPr/>
          <a:lstStyle/>
          <a:p>
            <a:pPr lvl="0">
              <a:lnSpc>
                <a:spcPct val="100000"/>
              </a:lnSpc>
            </a:pPr>
            <a:r>
              <a:rPr lang="en-GB" sz="3200">
                <a:latin typeface="IBM Plex Sans ExtLt" panose="020B0303050203000203" pitchFamily="34" charset="0"/>
              </a:rPr>
              <a:t>AI that can </a:t>
            </a:r>
            <a:br>
              <a:rPr lang="en-GB" sz="3200">
                <a:latin typeface="IBM Plex Sans ExtLt" panose="020B0303050203000203" pitchFamily="34" charset="0"/>
              </a:rPr>
            </a:br>
            <a:r>
              <a:rPr lang="en-GB" sz="3200">
                <a:solidFill>
                  <a:srgbClr val="0F62FE"/>
                </a:solidFill>
                <a:latin typeface="IBM Plex Sans ExtLt" panose="020B0303050203000203" pitchFamily="34" charset="0"/>
              </a:rPr>
              <a:t>chat for you</a:t>
            </a:r>
            <a:endParaRPr lang="en-US" sz="3200">
              <a:solidFill>
                <a:srgbClr val="0F62FE"/>
              </a:solidFill>
              <a:latin typeface="IBM Plex Sans ExtLt" panose="020B0303050203000203" pitchFamily="34" charset="0"/>
            </a:endParaRPr>
          </a:p>
        </p:txBody>
      </p:sp>
      <p:sp>
        <p:nvSpPr>
          <p:cNvPr id="13" name="Text Placeholder 28">
            <a:extLst>
              <a:ext uri="{FF2B5EF4-FFF2-40B4-BE49-F238E27FC236}">
                <a16:creationId xmlns:a16="http://schemas.microsoft.com/office/drawing/2014/main" id="{ADD6F25B-FBEE-DD41-C35B-A3A0D2267849}"/>
              </a:ext>
            </a:extLst>
          </p:cNvPr>
          <p:cNvSpPr txBox="1"/>
          <p:nvPr/>
        </p:nvSpPr>
        <p:spPr>
          <a:xfrm>
            <a:off x="8765301" y="245443"/>
            <a:ext cx="2476176" cy="1202033"/>
          </a:xfrm>
          <a:prstGeom prst="rect">
            <a:avLst/>
          </a:prstGeom>
          <a:noFill/>
          <a:ln cap="flat">
            <a:noFill/>
          </a:ln>
        </p:spPr>
        <p:txBody>
          <a:bodyPr vert="horz" wrap="square" lIns="0" tIns="0" rIns="0" bIns="0" anchor="t" anchorCtr="0" compatLnSpc="1">
            <a:noAutofit/>
          </a:bodyPr>
          <a:lstStyle/>
          <a:p>
            <a:pPr marL="0" marR="0" lvl="0" indent="0" algn="l" defTabSz="2438403"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32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rPr>
              <a:t>AI that can </a:t>
            </a:r>
            <a:br>
              <a:rPr kumimoji="0" lang="en-GB" sz="3200" b="0" i="0" u="none" strike="noStrike" kern="0" cap="none" spc="0" normalizeH="0" baseline="0" noProof="0">
                <a:ln>
                  <a:noFill/>
                </a:ln>
                <a:solidFill>
                  <a:srgbClr val="000000"/>
                </a:solidFill>
                <a:effectLst/>
                <a:uLnTx/>
                <a:uFillTx/>
                <a:latin typeface="IBM Plex Sans ExtLt" panose="020B0303050203000203" pitchFamily="34" charset="0"/>
                <a:ea typeface="+mn-ea"/>
                <a:cs typeface="+mn-cs"/>
              </a:rPr>
            </a:br>
            <a:r>
              <a:rPr kumimoji="0" lang="en-GB" sz="3200" b="0" i="0" u="none" strike="noStrike" kern="0" cap="none" spc="0" normalizeH="0" baseline="0" noProof="0">
                <a:ln>
                  <a:noFill/>
                </a:ln>
                <a:solidFill>
                  <a:srgbClr val="0F62FE"/>
                </a:solidFill>
                <a:effectLst/>
                <a:uLnTx/>
                <a:uFillTx/>
                <a:latin typeface="IBM Plex Sans ExtLt" panose="020B0303050203000203" pitchFamily="34" charset="0"/>
                <a:ea typeface="+mn-ea"/>
                <a:cs typeface="+mn-cs"/>
              </a:rPr>
              <a:t>do for you</a:t>
            </a:r>
            <a:endParaRPr kumimoji="0" lang="en-US" sz="3200" b="0" i="0" u="none" strike="noStrike" kern="0" cap="none" spc="0" normalizeH="0" baseline="0" noProof="0">
              <a:ln>
                <a:noFill/>
              </a:ln>
              <a:solidFill>
                <a:srgbClr val="0F62FE"/>
              </a:solidFill>
              <a:effectLst/>
              <a:uLnTx/>
              <a:uFillTx/>
              <a:latin typeface="IBM Plex Sans ExtLt" panose="020B0303050203000203" pitchFamily="34" charset="0"/>
              <a:ea typeface="+mn-ea"/>
              <a:cs typeface="+mn-cs"/>
            </a:endParaRPr>
          </a:p>
        </p:txBody>
      </p:sp>
      <p:sp>
        <p:nvSpPr>
          <p:cNvPr id="14" name="Image 8" descr="carbon--for-ibm-product">
            <a:extLst>
              <a:ext uri="{FF2B5EF4-FFF2-40B4-BE49-F238E27FC236}">
                <a16:creationId xmlns:a16="http://schemas.microsoft.com/office/drawing/2014/main" id="{84E5BCEF-1FA2-D8F5-D23C-4E596D8EF199}"/>
              </a:ext>
            </a:extLst>
          </p:cNvPr>
          <p:cNvSpPr/>
          <p:nvPr/>
        </p:nvSpPr>
        <p:spPr>
          <a:xfrm>
            <a:off x="6039934" y="1670105"/>
            <a:ext cx="555287" cy="554300"/>
          </a:xfrm>
          <a:custGeom>
            <a:avLst/>
            <a:gdLst>
              <a:gd name="f0" fmla="val 10800000"/>
              <a:gd name="f1" fmla="val 5400000"/>
              <a:gd name="f2" fmla="val 180"/>
              <a:gd name="f3" fmla="val w"/>
              <a:gd name="f4" fmla="val h"/>
              <a:gd name="f5" fmla="val 0"/>
              <a:gd name="f6" fmla="val 555291"/>
              <a:gd name="f7" fmla="val 554297"/>
              <a:gd name="f8" fmla="val 277655"/>
              <a:gd name="f9" fmla="val 554298"/>
              <a:gd name="f10" fmla="val 276456"/>
              <a:gd name="f11" fmla="val 275238"/>
              <a:gd name="f12" fmla="val 553988"/>
              <a:gd name="f13" fmla="val 274174"/>
              <a:gd name="f14" fmla="val 553401"/>
              <a:gd name="f15" fmla="val 112783"/>
              <a:gd name="f16" fmla="val 464901"/>
              <a:gd name="f17" fmla="val 119744"/>
              <a:gd name="f18" fmla="val 453473"/>
              <a:gd name="f19" fmla="val 540064"/>
              <a:gd name="f20" fmla="val 464993"/>
              <a:gd name="f21" fmla="val 437315"/>
              <a:gd name="f22" fmla="val 464374"/>
              <a:gd name="f23" fmla="val 434451"/>
              <a:gd name="f24" fmla="val 464029"/>
              <a:gd name="f25" fmla="val 431500"/>
              <a:gd name="f26" fmla="val 428473"/>
              <a:gd name="f27" fmla="val 404591"/>
              <a:gd name="f28" fmla="val 484505"/>
              <a:gd name="f29" fmla="val 385185"/>
              <a:gd name="f30" fmla="val 509660"/>
              <a:gd name="f31" fmla="val 534812"/>
              <a:gd name="f32" fmla="val 555292"/>
              <a:gd name="f33" fmla="val 404610"/>
              <a:gd name="f34" fmla="val 452336"/>
              <a:gd name="f35" fmla="val 471760"/>
              <a:gd name="f36" fmla="val 492681"/>
              <a:gd name="f37" fmla="val 477831"/>
              <a:gd name="f38" fmla="val 462918"/>
              <a:gd name="f39" fmla="val 469982"/>
              <a:gd name="f40" fmla="val 449821"/>
              <a:gd name="f41" fmla="val 281116"/>
              <a:gd name="f42" fmla="val 280072"/>
              <a:gd name="f43" fmla="val 554004"/>
              <a:gd name="f44" fmla="val 278853"/>
              <a:gd name="f45" fmla="val 509678"/>
              <a:gd name="f46" fmla="val 398392"/>
              <a:gd name="f47" fmla="val 492199"/>
              <a:gd name="f48" fmla="val 477968"/>
              <a:gd name="f49" fmla="val 411873"/>
              <a:gd name="f50" fmla="val 445071"/>
              <a:gd name="f51" fmla="val 492181"/>
              <a:gd name="f52" fmla="val 458554"/>
              <a:gd name="f53" fmla="val 527175"/>
              <a:gd name="f54" fmla="val 541388"/>
              <a:gd name="f55" fmla="val 527157"/>
              <a:gd name="f56" fmla="val 45631"/>
              <a:gd name="f57" fmla="val 20476"/>
              <a:gd name="f58" fmla="val 406848"/>
              <a:gd name="f59" fmla="val 16802"/>
              <a:gd name="f60" fmla="val 388872"/>
              <a:gd name="f61" fmla="val 38671"/>
              <a:gd name="f62" fmla="val 385680"/>
              <a:gd name="f63" fmla="val 165960"/>
              <a:gd name="f64" fmla="val 163612"/>
              <a:gd name="f65" fmla="val 39985"/>
              <a:gd name="f66" fmla="val 161411"/>
              <a:gd name="f67" fmla="val 42151"/>
              <a:gd name="f68" fmla="val 160237"/>
              <a:gd name="f69" fmla="val 205031"/>
              <a:gd name="f70" fmla="val 70893"/>
              <a:gd name="f71" fmla="val 211992"/>
              <a:gd name="f72" fmla="val 82320"/>
              <a:gd name="f73" fmla="val 52592"/>
              <a:gd name="f74" fmla="val 169757"/>
              <a:gd name="f75" fmla="val 74460"/>
              <a:gd name="f76" fmla="val 91263"/>
              <a:gd name="f77" fmla="val 452353"/>
              <a:gd name="f78" fmla="val 70787"/>
              <a:gd name="f79" fmla="val 28152"/>
              <a:gd name="f80" fmla="val 13921"/>
              <a:gd name="f81" fmla="val 63110"/>
              <a:gd name="f82" fmla="val 77341"/>
              <a:gd name="f83" fmla="val 445054"/>
              <a:gd name="f84" fmla="val 411891"/>
              <a:gd name="f85" fmla="val 471450"/>
              <a:gd name="f86" fmla="val 470863"/>
              <a:gd name="f87" fmla="val 119492"/>
              <a:gd name="f88" fmla="val 386029"/>
              <a:gd name="f89" fmla="val 117346"/>
              <a:gd name="f90" fmla="val 384855"/>
              <a:gd name="f91" fmla="val 116012"/>
              <a:gd name="f92" fmla="val 382672"/>
              <a:gd name="f93" fmla="val 380306"/>
              <a:gd name="f94" fmla="val 210641"/>
              <a:gd name="f95" fmla="val 208294"/>
              <a:gd name="f96" fmla="val 117327"/>
              <a:gd name="f97" fmla="val 206093"/>
              <a:gd name="f98" fmla="val 204919"/>
              <a:gd name="f99" fmla="val 120086"/>
              <a:gd name="f100" fmla="val 276320"/>
              <a:gd name="f101" fmla="val 118912"/>
              <a:gd name="f102" fmla="val 278989"/>
              <a:gd name="f103" fmla="val 281135"/>
              <a:gd name="f104" fmla="val 435817"/>
              <a:gd name="f105" fmla="val 437944"/>
              <a:gd name="f106" fmla="val 439298"/>
              <a:gd name="f107" fmla="val 208275"/>
              <a:gd name="f108" fmla="val 437963"/>
              <a:gd name="f109" fmla="val 384837"/>
              <a:gd name="f110" fmla="val 471467"/>
              <a:gd name="f111" fmla="val 129933"/>
              <a:gd name="f112" fmla="val 376509"/>
              <a:gd name="f113" fmla="val 457527"/>
              <a:gd name="f114" fmla="val 425376"/>
              <a:gd name="f115" fmla="val 214475"/>
              <a:gd name="f116" fmla="val 133458"/>
              <a:gd name="f117" fmla="val 516639"/>
              <a:gd name="f118" fmla="val 355104"/>
              <a:gd name="f119" fmla="val 502717"/>
              <a:gd name="f120" fmla="val 315687"/>
              <a:gd name="f121" fmla="val 67187"/>
              <a:gd name="f122" fmla="val 307508"/>
              <a:gd name="f123" fmla="val 78853"/>
              <a:gd name="f124" fmla="val 293510"/>
              <a:gd name="f125" fmla="val 86575"/>
              <a:gd name="f126" fmla="val 252499"/>
              <a:gd name="f127" fmla="val 232023"/>
              <a:gd name="f128" fmla="val 67151"/>
              <a:gd name="f129" fmla="val 43288"/>
              <a:gd name="f130" fmla="val 19424"/>
              <a:gd name="f131" fmla="val 302829"/>
              <a:gd name="f132" fmla="val 323286"/>
              <a:gd name="f133" fmla="val 47396"/>
              <a:gd name="f134" fmla="val 322667"/>
              <a:gd name="f135" fmla="val 51377"/>
              <a:gd name="f136" fmla="val 321527"/>
              <a:gd name="f137" fmla="val 55136"/>
              <a:gd name="f138" fmla="val 513156"/>
              <a:gd name="f139" fmla="val 160219"/>
              <a:gd name="f140" fmla="val 515286"/>
              <a:gd name="f141" fmla="val 161393"/>
              <a:gd name="f142" fmla="val 163575"/>
              <a:gd name="f143" fmla="val 165941"/>
              <a:gd name="f144" fmla="val 13206"/>
              <a:gd name="f145" fmla="val 260176"/>
              <a:gd name="f146" fmla="val 245945"/>
              <a:gd name="f147" fmla="val 26706"/>
              <a:gd name="f148" fmla="val 59869"/>
              <a:gd name="f149" fmla="val 73369"/>
              <a:gd name="f150" fmla="val 295134"/>
              <a:gd name="f151" fmla="val 309365"/>
              <a:gd name="f152" fmla="+- 0 0 -90"/>
              <a:gd name="f153" fmla="*/ f3 1 555291"/>
              <a:gd name="f154" fmla="*/ f4 1 554297"/>
              <a:gd name="f155" fmla="val f5"/>
              <a:gd name="f156" fmla="val f6"/>
              <a:gd name="f157" fmla="val f7"/>
              <a:gd name="f158" fmla="*/ f152 f0 1"/>
              <a:gd name="f159" fmla="+- f157 0 f155"/>
              <a:gd name="f160" fmla="+- f156 0 f155"/>
              <a:gd name="f161" fmla="*/ f158 1 f2"/>
              <a:gd name="f162" fmla="*/ f160 1 555291"/>
              <a:gd name="f163" fmla="*/ f159 1 554297"/>
              <a:gd name="f164" fmla="*/ 277655 f160 1"/>
              <a:gd name="f165" fmla="*/ 554298 f159 1"/>
              <a:gd name="f166" fmla="*/ 274174 f160 1"/>
              <a:gd name="f167" fmla="*/ 553401 f159 1"/>
              <a:gd name="f168" fmla="*/ 112783 f160 1"/>
              <a:gd name="f169" fmla="*/ 464901 f159 1"/>
              <a:gd name="f170" fmla="*/ 119744 f160 1"/>
              <a:gd name="f171" fmla="*/ 453473 f159 1"/>
              <a:gd name="f172" fmla="*/ 540064 f159 1"/>
              <a:gd name="f173" fmla="*/ 464993 f160 1"/>
              <a:gd name="f174" fmla="*/ 437315 f159 1"/>
              <a:gd name="f175" fmla="*/ 464029 f160 1"/>
              <a:gd name="f176" fmla="*/ 428473 f159 1"/>
              <a:gd name="f177" fmla="*/ 509660 f160 1"/>
              <a:gd name="f178" fmla="*/ 385185 f159 1"/>
              <a:gd name="f179" fmla="*/ 555292 f160 1"/>
              <a:gd name="f180" fmla="*/ 471760 f159 1"/>
              <a:gd name="f181" fmla="*/ 469982 f160 1"/>
              <a:gd name="f182" fmla="*/ 449821 f159 1"/>
              <a:gd name="f183" fmla="*/ 281116 f160 1"/>
              <a:gd name="f184" fmla="*/ 509678 f160 1"/>
              <a:gd name="f185" fmla="*/ 398392 f159 1"/>
              <a:gd name="f186" fmla="*/ 477968 f160 1"/>
              <a:gd name="f187" fmla="*/ 458554 f159 1"/>
              <a:gd name="f188" fmla="*/ 541388 f160 1"/>
              <a:gd name="f189" fmla="*/ 45631 f160 1"/>
              <a:gd name="f190" fmla="*/ 0 f160 1"/>
              <a:gd name="f191" fmla="*/ 38671 f160 1"/>
              <a:gd name="f192" fmla="*/ 385680 f159 1"/>
              <a:gd name="f193" fmla="*/ 165960 f159 1"/>
              <a:gd name="f194" fmla="*/ 42151 f160 1"/>
              <a:gd name="f195" fmla="*/ 160237 f159 1"/>
              <a:gd name="f196" fmla="*/ 205031 f160 1"/>
              <a:gd name="f197" fmla="*/ 70893 f159 1"/>
              <a:gd name="f198" fmla="*/ 211992 f160 1"/>
              <a:gd name="f199" fmla="*/ 82320 f159 1"/>
              <a:gd name="f200" fmla="*/ 52592 f160 1"/>
              <a:gd name="f201" fmla="*/ 169757 f159 1"/>
              <a:gd name="f202" fmla="*/ 91263 f160 1"/>
              <a:gd name="f203" fmla="*/ 13921 f160 1"/>
              <a:gd name="f204" fmla="*/ 77341 f160 1"/>
              <a:gd name="f205" fmla="*/ 470863 f159 1"/>
              <a:gd name="f206" fmla="*/ 119492 f160 1"/>
              <a:gd name="f207" fmla="*/ 386029 f159 1"/>
              <a:gd name="f208" fmla="*/ 116012 f160 1"/>
              <a:gd name="f209" fmla="*/ 380306 f159 1"/>
              <a:gd name="f210" fmla="*/ 210641 f159 1"/>
              <a:gd name="f211" fmla="*/ 204919 f159 1"/>
              <a:gd name="f212" fmla="*/ 120086 f159 1"/>
              <a:gd name="f213" fmla="*/ 281135 f160 1"/>
              <a:gd name="f214" fmla="*/ 435817 f160 1"/>
              <a:gd name="f215" fmla="*/ 439298 f160 1"/>
              <a:gd name="f216" fmla="*/ 129933 f160 1"/>
              <a:gd name="f217" fmla="*/ 376509 f159 1"/>
              <a:gd name="f218" fmla="*/ 457527 f159 1"/>
              <a:gd name="f219" fmla="*/ 425376 f160 1"/>
              <a:gd name="f220" fmla="*/ 214475 f159 1"/>
              <a:gd name="f221" fmla="*/ 133458 f159 1"/>
              <a:gd name="f222" fmla="*/ 516639 f160 1"/>
              <a:gd name="f223" fmla="*/ 355104 f159 1"/>
              <a:gd name="f224" fmla="*/ 502717 f160 1"/>
              <a:gd name="f225" fmla="*/ 315687 f160 1"/>
              <a:gd name="f226" fmla="*/ 67187 f159 1"/>
              <a:gd name="f227" fmla="*/ 86575 f159 1"/>
              <a:gd name="f228" fmla="*/ 232023 f160 1"/>
              <a:gd name="f229" fmla="*/ 43288 f159 1"/>
              <a:gd name="f230" fmla="*/ 0 f159 1"/>
              <a:gd name="f231" fmla="*/ 323286 f160 1"/>
              <a:gd name="f232" fmla="*/ 321527 f160 1"/>
              <a:gd name="f233" fmla="*/ 55136 f159 1"/>
              <a:gd name="f234" fmla="*/ 513156 f160 1"/>
              <a:gd name="f235" fmla="*/ 160219 f159 1"/>
              <a:gd name="f236" fmla="*/ 165941 f159 1"/>
              <a:gd name="f237" fmla="*/ 13206 f159 1"/>
              <a:gd name="f238" fmla="*/ 245945 f160 1"/>
              <a:gd name="f239" fmla="*/ 73369 f159 1"/>
              <a:gd name="f240" fmla="*/ 309365 f160 1"/>
              <a:gd name="f241" fmla="+- f161 0 f1"/>
              <a:gd name="f242" fmla="*/ f164 1 555291"/>
              <a:gd name="f243" fmla="*/ f165 1 554297"/>
              <a:gd name="f244" fmla="*/ f166 1 555291"/>
              <a:gd name="f245" fmla="*/ f167 1 554297"/>
              <a:gd name="f246" fmla="*/ f168 1 555291"/>
              <a:gd name="f247" fmla="*/ f169 1 554297"/>
              <a:gd name="f248" fmla="*/ f170 1 555291"/>
              <a:gd name="f249" fmla="*/ f171 1 554297"/>
              <a:gd name="f250" fmla="*/ f172 1 554297"/>
              <a:gd name="f251" fmla="*/ f173 1 555291"/>
              <a:gd name="f252" fmla="*/ f174 1 554297"/>
              <a:gd name="f253" fmla="*/ f175 1 555291"/>
              <a:gd name="f254" fmla="*/ f176 1 554297"/>
              <a:gd name="f255" fmla="*/ f177 1 555291"/>
              <a:gd name="f256" fmla="*/ f178 1 554297"/>
              <a:gd name="f257" fmla="*/ f179 1 555291"/>
              <a:gd name="f258" fmla="*/ f180 1 554297"/>
              <a:gd name="f259" fmla="*/ f181 1 555291"/>
              <a:gd name="f260" fmla="*/ f182 1 554297"/>
              <a:gd name="f261" fmla="*/ f183 1 555291"/>
              <a:gd name="f262" fmla="*/ f184 1 555291"/>
              <a:gd name="f263" fmla="*/ f185 1 554297"/>
              <a:gd name="f264" fmla="*/ f186 1 555291"/>
              <a:gd name="f265" fmla="*/ f187 1 554297"/>
              <a:gd name="f266" fmla="*/ f188 1 555291"/>
              <a:gd name="f267" fmla="*/ f189 1 555291"/>
              <a:gd name="f268" fmla="*/ f190 1 555291"/>
              <a:gd name="f269" fmla="*/ f191 1 555291"/>
              <a:gd name="f270" fmla="*/ f192 1 554297"/>
              <a:gd name="f271" fmla="*/ f193 1 554297"/>
              <a:gd name="f272" fmla="*/ f194 1 555291"/>
              <a:gd name="f273" fmla="*/ f195 1 554297"/>
              <a:gd name="f274" fmla="*/ f196 1 555291"/>
              <a:gd name="f275" fmla="*/ f197 1 554297"/>
              <a:gd name="f276" fmla="*/ f198 1 555291"/>
              <a:gd name="f277" fmla="*/ f199 1 554297"/>
              <a:gd name="f278" fmla="*/ f200 1 555291"/>
              <a:gd name="f279" fmla="*/ f201 1 554297"/>
              <a:gd name="f280" fmla="*/ f202 1 555291"/>
              <a:gd name="f281" fmla="*/ f203 1 555291"/>
              <a:gd name="f282" fmla="*/ f204 1 555291"/>
              <a:gd name="f283" fmla="*/ f205 1 554297"/>
              <a:gd name="f284" fmla="*/ f206 1 555291"/>
              <a:gd name="f285" fmla="*/ f207 1 554297"/>
              <a:gd name="f286" fmla="*/ f208 1 555291"/>
              <a:gd name="f287" fmla="*/ f209 1 554297"/>
              <a:gd name="f288" fmla="*/ f210 1 554297"/>
              <a:gd name="f289" fmla="*/ f211 1 554297"/>
              <a:gd name="f290" fmla="*/ f212 1 554297"/>
              <a:gd name="f291" fmla="*/ f213 1 555291"/>
              <a:gd name="f292" fmla="*/ f214 1 555291"/>
              <a:gd name="f293" fmla="*/ f215 1 555291"/>
              <a:gd name="f294" fmla="*/ f216 1 555291"/>
              <a:gd name="f295" fmla="*/ f217 1 554297"/>
              <a:gd name="f296" fmla="*/ f218 1 554297"/>
              <a:gd name="f297" fmla="*/ f219 1 555291"/>
              <a:gd name="f298" fmla="*/ f220 1 554297"/>
              <a:gd name="f299" fmla="*/ f221 1 554297"/>
              <a:gd name="f300" fmla="*/ f222 1 555291"/>
              <a:gd name="f301" fmla="*/ f223 1 554297"/>
              <a:gd name="f302" fmla="*/ f224 1 555291"/>
              <a:gd name="f303" fmla="*/ f225 1 555291"/>
              <a:gd name="f304" fmla="*/ f226 1 554297"/>
              <a:gd name="f305" fmla="*/ f227 1 554297"/>
              <a:gd name="f306" fmla="*/ f228 1 555291"/>
              <a:gd name="f307" fmla="*/ f229 1 554297"/>
              <a:gd name="f308" fmla="*/ f230 1 554297"/>
              <a:gd name="f309" fmla="*/ f231 1 555291"/>
              <a:gd name="f310" fmla="*/ f232 1 555291"/>
              <a:gd name="f311" fmla="*/ f233 1 554297"/>
              <a:gd name="f312" fmla="*/ f234 1 555291"/>
              <a:gd name="f313" fmla="*/ f235 1 554297"/>
              <a:gd name="f314" fmla="*/ f236 1 554297"/>
              <a:gd name="f315" fmla="*/ f237 1 554297"/>
              <a:gd name="f316" fmla="*/ f238 1 555291"/>
              <a:gd name="f317" fmla="*/ f239 1 554297"/>
              <a:gd name="f318" fmla="*/ f240 1 555291"/>
              <a:gd name="f319" fmla="*/ f155 1 f162"/>
              <a:gd name="f320" fmla="*/ f156 1 f162"/>
              <a:gd name="f321" fmla="*/ f155 1 f163"/>
              <a:gd name="f322" fmla="*/ f157 1 f163"/>
              <a:gd name="f323" fmla="*/ f242 1 f162"/>
              <a:gd name="f324" fmla="*/ f243 1 f163"/>
              <a:gd name="f325" fmla="*/ f244 1 f162"/>
              <a:gd name="f326" fmla="*/ f245 1 f163"/>
              <a:gd name="f327" fmla="*/ f246 1 f162"/>
              <a:gd name="f328" fmla="*/ f247 1 f163"/>
              <a:gd name="f329" fmla="*/ f248 1 f162"/>
              <a:gd name="f330" fmla="*/ f249 1 f163"/>
              <a:gd name="f331" fmla="*/ f250 1 f163"/>
              <a:gd name="f332" fmla="*/ f251 1 f162"/>
              <a:gd name="f333" fmla="*/ f252 1 f163"/>
              <a:gd name="f334" fmla="*/ f253 1 f162"/>
              <a:gd name="f335" fmla="*/ f254 1 f163"/>
              <a:gd name="f336" fmla="*/ f255 1 f162"/>
              <a:gd name="f337" fmla="*/ f256 1 f163"/>
              <a:gd name="f338" fmla="*/ f257 1 f162"/>
              <a:gd name="f339" fmla="*/ f258 1 f163"/>
              <a:gd name="f340" fmla="*/ f259 1 f162"/>
              <a:gd name="f341" fmla="*/ f260 1 f163"/>
              <a:gd name="f342" fmla="*/ f261 1 f162"/>
              <a:gd name="f343" fmla="*/ f262 1 f162"/>
              <a:gd name="f344" fmla="*/ f263 1 f163"/>
              <a:gd name="f345" fmla="*/ f264 1 f162"/>
              <a:gd name="f346" fmla="*/ f265 1 f163"/>
              <a:gd name="f347" fmla="*/ f266 1 f162"/>
              <a:gd name="f348" fmla="*/ f267 1 f162"/>
              <a:gd name="f349" fmla="*/ f268 1 f162"/>
              <a:gd name="f350" fmla="*/ f269 1 f162"/>
              <a:gd name="f351" fmla="*/ f270 1 f163"/>
              <a:gd name="f352" fmla="*/ f271 1 f163"/>
              <a:gd name="f353" fmla="*/ f272 1 f162"/>
              <a:gd name="f354" fmla="*/ f273 1 f163"/>
              <a:gd name="f355" fmla="*/ f274 1 f162"/>
              <a:gd name="f356" fmla="*/ f275 1 f163"/>
              <a:gd name="f357" fmla="*/ f276 1 f162"/>
              <a:gd name="f358" fmla="*/ f277 1 f163"/>
              <a:gd name="f359" fmla="*/ f278 1 f162"/>
              <a:gd name="f360" fmla="*/ f279 1 f163"/>
              <a:gd name="f361" fmla="*/ f280 1 f162"/>
              <a:gd name="f362" fmla="*/ f281 1 f162"/>
              <a:gd name="f363" fmla="*/ f282 1 f162"/>
              <a:gd name="f364" fmla="*/ f283 1 f163"/>
              <a:gd name="f365" fmla="*/ f284 1 f162"/>
              <a:gd name="f366" fmla="*/ f285 1 f163"/>
              <a:gd name="f367" fmla="*/ f286 1 f162"/>
              <a:gd name="f368" fmla="*/ f287 1 f163"/>
              <a:gd name="f369" fmla="*/ f288 1 f163"/>
              <a:gd name="f370" fmla="*/ f289 1 f163"/>
              <a:gd name="f371" fmla="*/ f290 1 f163"/>
              <a:gd name="f372" fmla="*/ f291 1 f162"/>
              <a:gd name="f373" fmla="*/ f292 1 f162"/>
              <a:gd name="f374" fmla="*/ f293 1 f162"/>
              <a:gd name="f375" fmla="*/ f294 1 f162"/>
              <a:gd name="f376" fmla="*/ f295 1 f163"/>
              <a:gd name="f377" fmla="*/ f296 1 f163"/>
              <a:gd name="f378" fmla="*/ f297 1 f162"/>
              <a:gd name="f379" fmla="*/ f298 1 f163"/>
              <a:gd name="f380" fmla="*/ f299 1 f163"/>
              <a:gd name="f381" fmla="*/ f300 1 f162"/>
              <a:gd name="f382" fmla="*/ f301 1 f163"/>
              <a:gd name="f383" fmla="*/ f302 1 f162"/>
              <a:gd name="f384" fmla="*/ f303 1 f162"/>
              <a:gd name="f385" fmla="*/ f304 1 f163"/>
              <a:gd name="f386" fmla="*/ f305 1 f163"/>
              <a:gd name="f387" fmla="*/ f306 1 f162"/>
              <a:gd name="f388" fmla="*/ f307 1 f163"/>
              <a:gd name="f389" fmla="*/ f308 1 f163"/>
              <a:gd name="f390" fmla="*/ f309 1 f162"/>
              <a:gd name="f391" fmla="*/ f310 1 f162"/>
              <a:gd name="f392" fmla="*/ f311 1 f163"/>
              <a:gd name="f393" fmla="*/ f312 1 f162"/>
              <a:gd name="f394" fmla="*/ f313 1 f163"/>
              <a:gd name="f395" fmla="*/ f314 1 f163"/>
              <a:gd name="f396" fmla="*/ f315 1 f163"/>
              <a:gd name="f397" fmla="*/ f316 1 f162"/>
              <a:gd name="f398" fmla="*/ f317 1 f163"/>
              <a:gd name="f399" fmla="*/ f318 1 f162"/>
              <a:gd name="f400" fmla="*/ f319 f153 1"/>
              <a:gd name="f401" fmla="*/ f320 f153 1"/>
              <a:gd name="f402" fmla="*/ f322 f154 1"/>
              <a:gd name="f403" fmla="*/ f321 f154 1"/>
              <a:gd name="f404" fmla="*/ f323 f153 1"/>
              <a:gd name="f405" fmla="*/ f324 f154 1"/>
              <a:gd name="f406" fmla="*/ f325 f153 1"/>
              <a:gd name="f407" fmla="*/ f326 f154 1"/>
              <a:gd name="f408" fmla="*/ f327 f153 1"/>
              <a:gd name="f409" fmla="*/ f328 f154 1"/>
              <a:gd name="f410" fmla="*/ f329 f153 1"/>
              <a:gd name="f411" fmla="*/ f330 f154 1"/>
              <a:gd name="f412" fmla="*/ f331 f154 1"/>
              <a:gd name="f413" fmla="*/ f332 f153 1"/>
              <a:gd name="f414" fmla="*/ f333 f154 1"/>
              <a:gd name="f415" fmla="*/ f334 f153 1"/>
              <a:gd name="f416" fmla="*/ f335 f154 1"/>
              <a:gd name="f417" fmla="*/ f336 f153 1"/>
              <a:gd name="f418" fmla="*/ f337 f154 1"/>
              <a:gd name="f419" fmla="*/ f338 f153 1"/>
              <a:gd name="f420" fmla="*/ f339 f154 1"/>
              <a:gd name="f421" fmla="*/ f340 f153 1"/>
              <a:gd name="f422" fmla="*/ f341 f154 1"/>
              <a:gd name="f423" fmla="*/ f342 f153 1"/>
              <a:gd name="f424" fmla="*/ f343 f153 1"/>
              <a:gd name="f425" fmla="*/ f344 f154 1"/>
              <a:gd name="f426" fmla="*/ f345 f153 1"/>
              <a:gd name="f427" fmla="*/ f346 f154 1"/>
              <a:gd name="f428" fmla="*/ f347 f153 1"/>
              <a:gd name="f429" fmla="*/ f348 f153 1"/>
              <a:gd name="f430" fmla="*/ f349 f153 1"/>
              <a:gd name="f431" fmla="*/ f350 f153 1"/>
              <a:gd name="f432" fmla="*/ f351 f154 1"/>
              <a:gd name="f433" fmla="*/ f352 f154 1"/>
              <a:gd name="f434" fmla="*/ f353 f153 1"/>
              <a:gd name="f435" fmla="*/ f354 f154 1"/>
              <a:gd name="f436" fmla="*/ f355 f153 1"/>
              <a:gd name="f437" fmla="*/ f356 f154 1"/>
              <a:gd name="f438" fmla="*/ f357 f153 1"/>
              <a:gd name="f439" fmla="*/ f358 f154 1"/>
              <a:gd name="f440" fmla="*/ f359 f153 1"/>
              <a:gd name="f441" fmla="*/ f360 f154 1"/>
              <a:gd name="f442" fmla="*/ f361 f153 1"/>
              <a:gd name="f443" fmla="*/ f362 f153 1"/>
              <a:gd name="f444" fmla="*/ f363 f153 1"/>
              <a:gd name="f445" fmla="*/ f364 f154 1"/>
              <a:gd name="f446" fmla="*/ f365 f153 1"/>
              <a:gd name="f447" fmla="*/ f366 f154 1"/>
              <a:gd name="f448" fmla="*/ f367 f153 1"/>
              <a:gd name="f449" fmla="*/ f368 f154 1"/>
              <a:gd name="f450" fmla="*/ f369 f154 1"/>
              <a:gd name="f451" fmla="*/ f370 f154 1"/>
              <a:gd name="f452" fmla="*/ f371 f154 1"/>
              <a:gd name="f453" fmla="*/ f372 f153 1"/>
              <a:gd name="f454" fmla="*/ f373 f153 1"/>
              <a:gd name="f455" fmla="*/ f374 f153 1"/>
              <a:gd name="f456" fmla="*/ f375 f153 1"/>
              <a:gd name="f457" fmla="*/ f376 f154 1"/>
              <a:gd name="f458" fmla="*/ f377 f154 1"/>
              <a:gd name="f459" fmla="*/ f378 f153 1"/>
              <a:gd name="f460" fmla="*/ f379 f154 1"/>
              <a:gd name="f461" fmla="*/ f380 f154 1"/>
              <a:gd name="f462" fmla="*/ f381 f153 1"/>
              <a:gd name="f463" fmla="*/ f382 f154 1"/>
              <a:gd name="f464" fmla="*/ f383 f153 1"/>
              <a:gd name="f465" fmla="*/ f384 f153 1"/>
              <a:gd name="f466" fmla="*/ f385 f154 1"/>
              <a:gd name="f467" fmla="*/ f386 f154 1"/>
              <a:gd name="f468" fmla="*/ f387 f153 1"/>
              <a:gd name="f469" fmla="*/ f388 f154 1"/>
              <a:gd name="f470" fmla="*/ f389 f154 1"/>
              <a:gd name="f471" fmla="*/ f390 f153 1"/>
              <a:gd name="f472" fmla="*/ f391 f153 1"/>
              <a:gd name="f473" fmla="*/ f392 f154 1"/>
              <a:gd name="f474" fmla="*/ f393 f153 1"/>
              <a:gd name="f475" fmla="*/ f394 f154 1"/>
              <a:gd name="f476" fmla="*/ f395 f154 1"/>
              <a:gd name="f477" fmla="*/ f396 f154 1"/>
              <a:gd name="f478" fmla="*/ f397 f153 1"/>
              <a:gd name="f479" fmla="*/ f398 f154 1"/>
              <a:gd name="f480" fmla="*/ f399 f153 1"/>
            </a:gdLst>
            <a:ahLst/>
            <a:cxnLst>
              <a:cxn ang="3cd4">
                <a:pos x="hc" y="t"/>
              </a:cxn>
              <a:cxn ang="0">
                <a:pos x="r" y="vc"/>
              </a:cxn>
              <a:cxn ang="cd4">
                <a:pos x="hc" y="b"/>
              </a:cxn>
              <a:cxn ang="cd2">
                <a:pos x="l" y="vc"/>
              </a:cxn>
              <a:cxn ang="f241">
                <a:pos x="f404" y="f405"/>
              </a:cxn>
              <a:cxn ang="f241">
                <a:pos x="f406" y="f407"/>
              </a:cxn>
              <a:cxn ang="f241">
                <a:pos x="f408" y="f409"/>
              </a:cxn>
              <a:cxn ang="f241">
                <a:pos x="f410" y="f411"/>
              </a:cxn>
              <a:cxn ang="f241">
                <a:pos x="f404" y="f412"/>
              </a:cxn>
              <a:cxn ang="f241">
                <a:pos x="f413" y="f414"/>
              </a:cxn>
              <a:cxn ang="f241">
                <a:pos x="f415" y="f416"/>
              </a:cxn>
              <a:cxn ang="f241">
                <a:pos x="f417" y="f418"/>
              </a:cxn>
              <a:cxn ang="f241">
                <a:pos x="f419" y="f416"/>
              </a:cxn>
              <a:cxn ang="f241">
                <a:pos x="f417" y="f420"/>
              </a:cxn>
              <a:cxn ang="f241">
                <a:pos x="f421" y="f422"/>
              </a:cxn>
              <a:cxn ang="f241">
                <a:pos x="f423" y="f407"/>
              </a:cxn>
              <a:cxn ang="f241">
                <a:pos x="f404" y="f405"/>
              </a:cxn>
              <a:cxn ang="f241">
                <a:pos x="f424" y="f425"/>
              </a:cxn>
              <a:cxn ang="f241">
                <a:pos x="f426" y="f416"/>
              </a:cxn>
              <a:cxn ang="f241">
                <a:pos x="f424" y="f427"/>
              </a:cxn>
              <a:cxn ang="f241">
                <a:pos x="f428" y="f416"/>
              </a:cxn>
              <a:cxn ang="f241">
                <a:pos x="f424" y="f425"/>
              </a:cxn>
              <a:cxn ang="f241">
                <a:pos x="f429" y="f420"/>
              </a:cxn>
              <a:cxn ang="f241">
                <a:pos x="f430" y="f416"/>
              </a:cxn>
              <a:cxn ang="f241">
                <a:pos x="f431" y="f432"/>
              </a:cxn>
              <a:cxn ang="f241">
                <a:pos x="f431" y="f433"/>
              </a:cxn>
              <a:cxn ang="f241">
                <a:pos x="f434" y="f435"/>
              </a:cxn>
              <a:cxn ang="f241">
                <a:pos x="f436" y="f437"/>
              </a:cxn>
              <a:cxn ang="f241">
                <a:pos x="f438" y="f439"/>
              </a:cxn>
              <a:cxn ang="f241">
                <a:pos x="f440" y="f441"/>
              </a:cxn>
              <a:cxn ang="f241">
                <a:pos x="f440" y="f432"/>
              </a:cxn>
              <a:cxn ang="f241">
                <a:pos x="f442" y="f416"/>
              </a:cxn>
              <a:cxn ang="f241">
                <a:pos x="f429" y="f420"/>
              </a:cxn>
              <a:cxn ang="f241">
                <a:pos x="f429" y="f425"/>
              </a:cxn>
              <a:cxn ang="f241">
                <a:pos x="f443" y="f416"/>
              </a:cxn>
              <a:cxn ang="f241">
                <a:pos x="f429" y="f427"/>
              </a:cxn>
              <a:cxn ang="f241">
                <a:pos x="f444" y="f416"/>
              </a:cxn>
              <a:cxn ang="f241">
                <a:pos x="f429" y="f425"/>
              </a:cxn>
              <a:cxn ang="f241">
                <a:pos x="f404" y="f420"/>
              </a:cxn>
              <a:cxn ang="f241">
                <a:pos x="f406" y="f445"/>
              </a:cxn>
              <a:cxn ang="f241">
                <a:pos x="f446" y="f447"/>
              </a:cxn>
              <a:cxn ang="f241">
                <a:pos x="f448" y="f449"/>
              </a:cxn>
              <a:cxn ang="f241">
                <a:pos x="f448" y="f450"/>
              </a:cxn>
              <a:cxn ang="f241">
                <a:pos x="f446" y="f451"/>
              </a:cxn>
              <a:cxn ang="f241">
                <a:pos x="f406" y="f452"/>
              </a:cxn>
              <a:cxn ang="f241">
                <a:pos x="f453" y="f452"/>
              </a:cxn>
              <a:cxn ang="f241">
                <a:pos x="f454" y="f451"/>
              </a:cxn>
              <a:cxn ang="f241">
                <a:pos x="f455" y="f450"/>
              </a:cxn>
              <a:cxn ang="f241">
                <a:pos x="f455" y="f449"/>
              </a:cxn>
              <a:cxn ang="f241">
                <a:pos x="f454" y="f447"/>
              </a:cxn>
              <a:cxn ang="f241">
                <a:pos x="f453" y="f445"/>
              </a:cxn>
              <a:cxn ang="f241">
                <a:pos x="f404" y="f420"/>
              </a:cxn>
              <a:cxn ang="f241">
                <a:pos x="f456" y="f457"/>
              </a:cxn>
              <a:cxn ang="f241">
                <a:pos x="f404" y="f458"/>
              </a:cxn>
              <a:cxn ang="f241">
                <a:pos x="f459" y="f457"/>
              </a:cxn>
              <a:cxn ang="f241">
                <a:pos x="f459" y="f460"/>
              </a:cxn>
              <a:cxn ang="f241">
                <a:pos x="f404" y="f461"/>
              </a:cxn>
              <a:cxn ang="f241">
                <a:pos x="f456" y="f460"/>
              </a:cxn>
              <a:cxn ang="f241">
                <a:pos x="f456" y="f457"/>
              </a:cxn>
              <a:cxn ang="f241">
                <a:pos x="f462" y="f463"/>
              </a:cxn>
              <a:cxn ang="f241">
                <a:pos x="f464" y="f463"/>
              </a:cxn>
              <a:cxn ang="f241">
                <a:pos x="f464" y="f441"/>
              </a:cxn>
              <a:cxn ang="f241">
                <a:pos x="f465" y="f466"/>
              </a:cxn>
              <a:cxn ang="f241">
                <a:pos x="f404" y="f467"/>
              </a:cxn>
              <a:cxn ang="f241">
                <a:pos x="f468" y="f469"/>
              </a:cxn>
              <a:cxn ang="f241">
                <a:pos x="f404" y="f470"/>
              </a:cxn>
              <a:cxn ang="f241">
                <a:pos x="f471" y="f469"/>
              </a:cxn>
              <a:cxn ang="f241">
                <a:pos x="f472" y="f473"/>
              </a:cxn>
              <a:cxn ang="f241">
                <a:pos x="f474" y="f475"/>
              </a:cxn>
              <a:cxn ang="f241">
                <a:pos x="f462" y="f476"/>
              </a:cxn>
              <a:cxn ang="f241">
                <a:pos x="f462" y="f463"/>
              </a:cxn>
              <a:cxn ang="f241">
                <a:pos x="f404" y="f477"/>
              </a:cxn>
              <a:cxn ang="f241">
                <a:pos x="f478" y="f469"/>
              </a:cxn>
              <a:cxn ang="f241">
                <a:pos x="f404" y="f479"/>
              </a:cxn>
              <a:cxn ang="f241">
                <a:pos x="f480" y="f469"/>
              </a:cxn>
              <a:cxn ang="f241">
                <a:pos x="f404" y="f477"/>
              </a:cxn>
            </a:cxnLst>
            <a:rect l="f400" t="f403" r="f401" b="f402"/>
            <a:pathLst>
              <a:path w="555291" h="554297">
                <a:moveTo>
                  <a:pt x="f8" y="f9"/>
                </a:moveTo>
                <a:cubicBezTo>
                  <a:pt x="f10" y="f9"/>
                  <a:pt x="f11" y="f12"/>
                  <a:pt x="f13" y="f14"/>
                </a:cubicBezTo>
                <a:lnTo>
                  <a:pt x="f15" y="f16"/>
                </a:lnTo>
                <a:lnTo>
                  <a:pt x="f17" y="f18"/>
                </a:lnTo>
                <a:lnTo>
                  <a:pt x="f8" y="f19"/>
                </a:lnTo>
                <a:lnTo>
                  <a:pt x="f20" y="f21"/>
                </a:lnTo>
                <a:cubicBezTo>
                  <a:pt x="f22" y="f23"/>
                  <a:pt x="f24" y="f25"/>
                  <a:pt x="f24" y="f26"/>
                </a:cubicBezTo>
                <a:cubicBezTo>
                  <a:pt x="f24" y="f27"/>
                  <a:pt x="f28" y="f29"/>
                  <a:pt x="f30" y="f29"/>
                </a:cubicBezTo>
                <a:cubicBezTo>
                  <a:pt x="f31" y="f29"/>
                  <a:pt x="f32" y="f33"/>
                  <a:pt x="f32" y="f26"/>
                </a:cubicBezTo>
                <a:cubicBezTo>
                  <a:pt x="f32" y="f34"/>
                  <a:pt x="f31" y="f35"/>
                  <a:pt x="f30" y="f35"/>
                </a:cubicBezTo>
                <a:cubicBezTo>
                  <a:pt x="f36" y="f35"/>
                  <a:pt x="f37" y="f38"/>
                  <a:pt x="f39" y="f40"/>
                </a:cubicBezTo>
                <a:lnTo>
                  <a:pt x="f41" y="f14"/>
                </a:lnTo>
                <a:cubicBezTo>
                  <a:pt x="f42" y="f43"/>
                  <a:pt x="f44" y="f9"/>
                  <a:pt x="f8" y="f9"/>
                </a:cubicBezTo>
                <a:close/>
                <a:moveTo>
                  <a:pt x="f45" y="f46"/>
                </a:moveTo>
                <a:cubicBezTo>
                  <a:pt x="f47" y="f46"/>
                  <a:pt x="f48" y="f49"/>
                  <a:pt x="f48" y="f26"/>
                </a:cubicBezTo>
                <a:cubicBezTo>
                  <a:pt x="f48" y="f50"/>
                  <a:pt x="f51" y="f52"/>
                  <a:pt x="f45" y="f52"/>
                </a:cubicBezTo>
                <a:cubicBezTo>
                  <a:pt x="f53" y="f52"/>
                  <a:pt x="f54" y="f50"/>
                  <a:pt x="f54" y="f26"/>
                </a:cubicBezTo>
                <a:cubicBezTo>
                  <a:pt x="f54" y="f49"/>
                  <a:pt x="f55" y="f46"/>
                  <a:pt x="f45" y="f46"/>
                </a:cubicBezTo>
                <a:close/>
                <a:moveTo>
                  <a:pt x="f56" y="f35"/>
                </a:moveTo>
                <a:cubicBezTo>
                  <a:pt x="f57" y="f35"/>
                  <a:pt x="f5" y="f34"/>
                  <a:pt x="f5" y="f26"/>
                </a:cubicBezTo>
                <a:cubicBezTo>
                  <a:pt x="f5" y="f58"/>
                  <a:pt x="f59" y="f60"/>
                  <a:pt x="f61" y="f62"/>
                </a:cubicBezTo>
                <a:lnTo>
                  <a:pt x="f61" y="f63"/>
                </a:lnTo>
                <a:cubicBezTo>
                  <a:pt x="f61" y="f64"/>
                  <a:pt x="f65" y="f66"/>
                  <a:pt x="f67" y="f68"/>
                </a:cubicBezTo>
                <a:lnTo>
                  <a:pt x="f69" y="f70"/>
                </a:lnTo>
                <a:lnTo>
                  <a:pt x="f71" y="f72"/>
                </a:lnTo>
                <a:lnTo>
                  <a:pt x="f73" y="f74"/>
                </a:lnTo>
                <a:lnTo>
                  <a:pt x="f73" y="f62"/>
                </a:lnTo>
                <a:cubicBezTo>
                  <a:pt x="f75" y="f60"/>
                  <a:pt x="f76" y="f58"/>
                  <a:pt x="f76" y="f26"/>
                </a:cubicBezTo>
                <a:cubicBezTo>
                  <a:pt x="f76" y="f77"/>
                  <a:pt x="f78" y="f35"/>
                  <a:pt x="f56" y="f35"/>
                </a:cubicBezTo>
                <a:close/>
                <a:moveTo>
                  <a:pt x="f56" y="f46"/>
                </a:moveTo>
                <a:cubicBezTo>
                  <a:pt x="f79" y="f46"/>
                  <a:pt x="f80" y="f49"/>
                  <a:pt x="f80" y="f26"/>
                </a:cubicBezTo>
                <a:cubicBezTo>
                  <a:pt x="f80" y="f50"/>
                  <a:pt x="f79" y="f52"/>
                  <a:pt x="f56" y="f52"/>
                </a:cubicBezTo>
                <a:cubicBezTo>
                  <a:pt x="f81" y="f52"/>
                  <a:pt x="f82" y="f83"/>
                  <a:pt x="f82" y="f26"/>
                </a:cubicBezTo>
                <a:cubicBezTo>
                  <a:pt x="f82" y="f84"/>
                  <a:pt x="f81" y="f46"/>
                  <a:pt x="f56" y="f46"/>
                </a:cubicBezTo>
                <a:close/>
                <a:moveTo>
                  <a:pt x="f8" y="f35"/>
                </a:moveTo>
                <a:cubicBezTo>
                  <a:pt x="f10" y="f35"/>
                  <a:pt x="f11" y="f85"/>
                  <a:pt x="f13" y="f86"/>
                </a:cubicBezTo>
                <a:lnTo>
                  <a:pt x="f87" y="f88"/>
                </a:lnTo>
                <a:cubicBezTo>
                  <a:pt x="f89" y="f90"/>
                  <a:pt x="f91" y="f92"/>
                  <a:pt x="f91" y="f93"/>
                </a:cubicBezTo>
                <a:lnTo>
                  <a:pt x="f91" y="f94"/>
                </a:lnTo>
                <a:cubicBezTo>
                  <a:pt x="f91" y="f95"/>
                  <a:pt x="f96" y="f97"/>
                  <a:pt x="f87" y="f98"/>
                </a:cubicBezTo>
                <a:lnTo>
                  <a:pt x="f13" y="f99"/>
                </a:lnTo>
                <a:cubicBezTo>
                  <a:pt x="f100" y="f101"/>
                  <a:pt x="f102" y="f101"/>
                  <a:pt x="f103" y="f99"/>
                </a:cubicBezTo>
                <a:lnTo>
                  <a:pt x="f104" y="f98"/>
                </a:lnTo>
                <a:cubicBezTo>
                  <a:pt x="f105" y="f97"/>
                  <a:pt x="f106" y="f107"/>
                  <a:pt x="f106" y="f94"/>
                </a:cubicBezTo>
                <a:lnTo>
                  <a:pt x="f106" y="f93"/>
                </a:lnTo>
                <a:cubicBezTo>
                  <a:pt x="f106" y="f92"/>
                  <a:pt x="f108" y="f109"/>
                  <a:pt x="f104" y="f88"/>
                </a:cubicBezTo>
                <a:lnTo>
                  <a:pt x="f103" y="f86"/>
                </a:lnTo>
                <a:cubicBezTo>
                  <a:pt x="f42" y="f110"/>
                  <a:pt x="f44" y="f35"/>
                  <a:pt x="f8" y="f35"/>
                </a:cubicBezTo>
                <a:close/>
                <a:moveTo>
                  <a:pt x="f111" y="f112"/>
                </a:moveTo>
                <a:lnTo>
                  <a:pt x="f8" y="f113"/>
                </a:lnTo>
                <a:lnTo>
                  <a:pt x="f114" y="f112"/>
                </a:lnTo>
                <a:lnTo>
                  <a:pt x="f114" y="f115"/>
                </a:lnTo>
                <a:lnTo>
                  <a:pt x="f8" y="f116"/>
                </a:lnTo>
                <a:lnTo>
                  <a:pt x="f111" y="f115"/>
                </a:lnTo>
                <a:lnTo>
                  <a:pt x="f111" y="f112"/>
                </a:lnTo>
                <a:close/>
                <a:moveTo>
                  <a:pt x="f117" y="f118"/>
                </a:moveTo>
                <a:lnTo>
                  <a:pt x="f119" y="f118"/>
                </a:lnTo>
                <a:lnTo>
                  <a:pt x="f119" y="f74"/>
                </a:lnTo>
                <a:lnTo>
                  <a:pt x="f120" y="f121"/>
                </a:lnTo>
                <a:cubicBezTo>
                  <a:pt x="f122" y="f123"/>
                  <a:pt x="f124" y="f125"/>
                  <a:pt x="f8" y="f125"/>
                </a:cubicBezTo>
                <a:cubicBezTo>
                  <a:pt x="f126" y="f125"/>
                  <a:pt x="f127" y="f128"/>
                  <a:pt x="f127" y="f129"/>
                </a:cubicBezTo>
                <a:cubicBezTo>
                  <a:pt x="f127" y="f130"/>
                  <a:pt x="f126" y="f5"/>
                  <a:pt x="f8" y="f5"/>
                </a:cubicBezTo>
                <a:cubicBezTo>
                  <a:pt x="f131" y="f5"/>
                  <a:pt x="f132" y="f130"/>
                  <a:pt x="f132" y="f129"/>
                </a:cubicBezTo>
                <a:cubicBezTo>
                  <a:pt x="f132" y="f133"/>
                  <a:pt x="f134" y="f135"/>
                  <a:pt x="f136" y="f137"/>
                </a:cubicBezTo>
                <a:lnTo>
                  <a:pt x="f138" y="f139"/>
                </a:lnTo>
                <a:cubicBezTo>
                  <a:pt x="f140" y="f141"/>
                  <a:pt x="f117" y="f142"/>
                  <a:pt x="f117" y="f143"/>
                </a:cubicBezTo>
                <a:lnTo>
                  <a:pt x="f117" y="f118"/>
                </a:lnTo>
                <a:close/>
                <a:moveTo>
                  <a:pt x="f8" y="f144"/>
                </a:moveTo>
                <a:cubicBezTo>
                  <a:pt x="f145" y="f144"/>
                  <a:pt x="f146" y="f147"/>
                  <a:pt x="f146" y="f129"/>
                </a:cubicBezTo>
                <a:cubicBezTo>
                  <a:pt x="f146" y="f148"/>
                  <a:pt x="f145" y="f149"/>
                  <a:pt x="f8" y="f149"/>
                </a:cubicBezTo>
                <a:cubicBezTo>
                  <a:pt x="f150" y="f149"/>
                  <a:pt x="f151" y="f148"/>
                  <a:pt x="f151" y="f129"/>
                </a:cubicBezTo>
                <a:cubicBezTo>
                  <a:pt x="f151" y="f147"/>
                  <a:pt x="f150" y="f144"/>
                  <a:pt x="f8" y="f144"/>
                </a:cubicBezTo>
                <a:close/>
              </a:path>
            </a:pathLst>
          </a:custGeom>
          <a:solidFill>
            <a:srgbClr val="000000"/>
          </a:solidFill>
          <a:ln cap="flat">
            <a:noFill/>
            <a:prstDash val="solid"/>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15" name="Image 10" descr="Frame 2018779477">
            <a:extLst>
              <a:ext uri="{FF2B5EF4-FFF2-40B4-BE49-F238E27FC236}">
                <a16:creationId xmlns:a16="http://schemas.microsoft.com/office/drawing/2014/main" id="{349C54D6-6A75-4B6F-7642-1E7D8AC2C287}"/>
              </a:ext>
            </a:extLst>
          </p:cNvPr>
          <p:cNvPicPr>
            <a:picLocks noChangeAspect="1"/>
          </p:cNvPicPr>
          <p:nvPr/>
        </p:nvPicPr>
        <p:blipFill>
          <a:blip r:embed="rId4"/>
          <a:stretch>
            <a:fillRect/>
          </a:stretch>
        </p:blipFill>
        <p:spPr>
          <a:xfrm>
            <a:off x="5598240" y="3015819"/>
            <a:ext cx="1737323" cy="900821"/>
          </a:xfrm>
          <a:prstGeom prst="rect">
            <a:avLst/>
          </a:prstGeom>
          <a:noFill/>
          <a:ln cap="flat">
            <a:noFill/>
          </a:ln>
        </p:spPr>
      </p:pic>
      <p:sp>
        <p:nvSpPr>
          <p:cNvPr id="16" name="Text 2">
            <a:extLst>
              <a:ext uri="{FF2B5EF4-FFF2-40B4-BE49-F238E27FC236}">
                <a16:creationId xmlns:a16="http://schemas.microsoft.com/office/drawing/2014/main" id="{4F338DFB-B1DF-A740-69A6-9DBAB9EB1403}"/>
              </a:ext>
            </a:extLst>
          </p:cNvPr>
          <p:cNvSpPr txBox="1"/>
          <p:nvPr/>
        </p:nvSpPr>
        <p:spPr>
          <a:xfrm>
            <a:off x="6008141" y="2444008"/>
            <a:ext cx="1792461" cy="220955"/>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575"/>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1200" cap="none" spc="0" normalizeH="0" baseline="0" noProof="0">
                <a:ln>
                  <a:noFill/>
                </a:ln>
                <a:solidFill>
                  <a:srgbClr val="000000"/>
                </a:solidFill>
                <a:effectLst/>
                <a:uLnTx/>
                <a:uFillTx/>
                <a:latin typeface="IBM Plex Sans Light" pitchFamily="34"/>
                <a:ea typeface="IBM Plex Sans Regular" pitchFamily="34"/>
                <a:cs typeface="IBM Plex Sans Regular" pitchFamily="34"/>
              </a:rPr>
              <a:t>Assistants</a:t>
            </a:r>
            <a:endParaRPr kumimoji="0" lang="en-US" sz="1600" b="0" i="0" u="none" strike="noStrike" kern="1200" cap="none" spc="0" normalizeH="0" baseline="0" noProof="0">
              <a:ln>
                <a:noFill/>
              </a:ln>
              <a:solidFill>
                <a:srgbClr val="000000"/>
              </a:solidFill>
              <a:effectLst/>
              <a:uLnTx/>
              <a:uFillTx/>
              <a:latin typeface="IBM Plex Sans Light" pitchFamily="34"/>
              <a:ea typeface="+mn-ea"/>
              <a:cs typeface="+mn-cs"/>
            </a:endParaRPr>
          </a:p>
        </p:txBody>
      </p:sp>
      <p:sp>
        <p:nvSpPr>
          <p:cNvPr id="17" name="Text 3">
            <a:extLst>
              <a:ext uri="{FF2B5EF4-FFF2-40B4-BE49-F238E27FC236}">
                <a16:creationId xmlns:a16="http://schemas.microsoft.com/office/drawing/2014/main" id="{97ECAD2B-C796-963E-5FA0-561B8348BBD7}"/>
              </a:ext>
            </a:extLst>
          </p:cNvPr>
          <p:cNvSpPr txBox="1"/>
          <p:nvPr/>
        </p:nvSpPr>
        <p:spPr>
          <a:xfrm>
            <a:off x="6008141" y="2911870"/>
            <a:ext cx="1787322" cy="573639"/>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Information retrieval​</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Prescriptive tasks​</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Single-step processes​</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p:txBody>
      </p:sp>
      <p:sp>
        <p:nvSpPr>
          <p:cNvPr id="18" name="Image 14" descr="automation--software_00000041255145955070515160000016924941497910509223_">
            <a:extLst>
              <a:ext uri="{FF2B5EF4-FFF2-40B4-BE49-F238E27FC236}">
                <a16:creationId xmlns:a16="http://schemas.microsoft.com/office/drawing/2014/main" id="{4DD45F3C-D3DB-4C56-A983-70762E78F58E}"/>
              </a:ext>
            </a:extLst>
          </p:cNvPr>
          <p:cNvSpPr/>
          <p:nvPr/>
        </p:nvSpPr>
        <p:spPr>
          <a:xfrm>
            <a:off x="8773155" y="1669337"/>
            <a:ext cx="513307" cy="584502"/>
          </a:xfrm>
          <a:custGeom>
            <a:avLst/>
            <a:gdLst>
              <a:gd name="f0" fmla="val 10800000"/>
              <a:gd name="f1" fmla="val 5400000"/>
              <a:gd name="f2" fmla="val 180"/>
              <a:gd name="f3" fmla="val w"/>
              <a:gd name="f4" fmla="val h"/>
              <a:gd name="f5" fmla="val 0"/>
              <a:gd name="f6" fmla="val 513305"/>
              <a:gd name="f7" fmla="val 584507"/>
              <a:gd name="f8" fmla="val 256662"/>
              <a:gd name="f9" fmla="val 255471"/>
              <a:gd name="f10" fmla="val 254280"/>
              <a:gd name="f11" fmla="val 584191"/>
              <a:gd name="f12" fmla="val 253204"/>
              <a:gd name="f13" fmla="val 583602"/>
              <a:gd name="f14" fmla="val 233975"/>
              <a:gd name="f15" fmla="val 572971"/>
              <a:gd name="f16" fmla="val 231823"/>
              <a:gd name="f17" fmla="val 571808"/>
              <a:gd name="f18" fmla="val 230517"/>
              <a:gd name="f19" fmla="val 569597"/>
              <a:gd name="f20" fmla="val 567221"/>
              <a:gd name="f21" fmla="val 545938"/>
              <a:gd name="f22" fmla="val 543559"/>
              <a:gd name="f23" fmla="val 541368"/>
              <a:gd name="f24" fmla="val 540189"/>
              <a:gd name="f25" fmla="val 529554"/>
              <a:gd name="f26" fmla="val 255336"/>
              <a:gd name="f27" fmla="val 528375"/>
              <a:gd name="f28" fmla="val 257987"/>
              <a:gd name="f29" fmla="val 260120"/>
              <a:gd name="f30" fmla="val 275775"/>
              <a:gd name="f31" fmla="val 538252"/>
              <a:gd name="f32" fmla="val 425958"/>
              <a:gd name="f33" fmla="val 452383"/>
              <a:gd name="f34" fmla="val 433046"/>
              <a:gd name="f35" fmla="val 463789"/>
              <a:gd name="f36" fmla="val 282748"/>
              <a:gd name="f37" fmla="val 549695"/>
              <a:gd name="f38" fmla="val 281423"/>
              <a:gd name="f39" fmla="val 571770"/>
              <a:gd name="f40" fmla="val 279272"/>
              <a:gd name="f41" fmla="val 260100"/>
              <a:gd name="f42" fmla="val 259063"/>
              <a:gd name="f43" fmla="val 584212"/>
              <a:gd name="f44" fmla="val 257853"/>
              <a:gd name="f45" fmla="val 244348"/>
              <a:gd name="f46" fmla="val 563405"/>
              <a:gd name="f47" fmla="val 570208"/>
              <a:gd name="f48" fmla="val 268937"/>
              <a:gd name="f49" fmla="val 549788"/>
              <a:gd name="f50" fmla="val 542990"/>
              <a:gd name="f51" fmla="val 195421"/>
              <a:gd name="f52" fmla="val 529996"/>
              <a:gd name="f53" fmla="val 45258"/>
              <a:gd name="f54" fmla="val 442451"/>
              <a:gd name="f55" fmla="val 29621"/>
              <a:gd name="f56" fmla="val 451111"/>
              <a:gd name="f57" fmla="val 27489"/>
              <a:gd name="f58" fmla="val 452290"/>
              <a:gd name="f59" fmla="val 24838"/>
              <a:gd name="f60" fmla="val 22706"/>
              <a:gd name="f61" fmla="val 3458"/>
              <a:gd name="f62" fmla="val 440480"/>
              <a:gd name="f63" fmla="val 1306"/>
              <a:gd name="f64" fmla="val 439317"/>
              <a:gd name="f65" fmla="val 437106"/>
              <a:gd name="f66" fmla="val 434731"/>
              <a:gd name="f67" fmla="val 413445"/>
              <a:gd name="f68" fmla="val 411068"/>
              <a:gd name="f69" fmla="val 408875"/>
              <a:gd name="f70" fmla="val 407696"/>
              <a:gd name="f71" fmla="val 22687"/>
              <a:gd name="f72" fmla="val 397064"/>
              <a:gd name="f73" fmla="val 24819"/>
              <a:gd name="f74" fmla="val 395884"/>
              <a:gd name="f75" fmla="val 27470"/>
              <a:gd name="f76" fmla="val 29602"/>
              <a:gd name="f77" fmla="val 48793"/>
              <a:gd name="f78" fmla="val 50925"/>
              <a:gd name="f79" fmla="val 52250"/>
              <a:gd name="f80" fmla="val 431007"/>
              <a:gd name="f81" fmla="val 202605"/>
              <a:gd name="f82" fmla="val 518666"/>
              <a:gd name="f83" fmla="val 13831"/>
              <a:gd name="f84" fmla="val 430898"/>
              <a:gd name="f85" fmla="val 26144"/>
              <a:gd name="f86" fmla="val 437696"/>
              <a:gd name="f87" fmla="val 38420"/>
              <a:gd name="f88" fmla="val 417278"/>
              <a:gd name="f89" fmla="val 410479"/>
              <a:gd name="f90" fmla="val 487180"/>
              <a:gd name="f91" fmla="val 452012"/>
              <a:gd name="f92" fmla="val 485990"/>
              <a:gd name="f93" fmla="val 484796"/>
              <a:gd name="f94" fmla="val 451700"/>
              <a:gd name="f95" fmla="val 483720"/>
              <a:gd name="f96" fmla="val 464493"/>
              <a:gd name="f97" fmla="val 462359"/>
              <a:gd name="f98" fmla="val 461015"/>
              <a:gd name="f99" fmla="val 462341"/>
              <a:gd name="f100" fmla="val 480242"/>
              <a:gd name="f101" fmla="val 398961"/>
              <a:gd name="f102" fmla="val 480185"/>
              <a:gd name="f103" fmla="val 218540"/>
              <a:gd name="f104" fmla="val 494038"/>
              <a:gd name="f105" fmla="val 494113"/>
              <a:gd name="f106" fmla="val 398980"/>
              <a:gd name="f107" fmla="val 509828"/>
              <a:gd name="f108" fmla="val 407715"/>
              <a:gd name="f109" fmla="val 511962"/>
              <a:gd name="f110" fmla="val 408894"/>
              <a:gd name="f111" fmla="val 411087"/>
              <a:gd name="f112" fmla="val 413464"/>
              <a:gd name="f113" fmla="val 434747"/>
              <a:gd name="f114" fmla="val 437123"/>
              <a:gd name="f115" fmla="val 511979"/>
              <a:gd name="f116" fmla="val 439300"/>
              <a:gd name="f117" fmla="val 440497"/>
              <a:gd name="f118" fmla="val 490636"/>
              <a:gd name="f119" fmla="val 451128"/>
              <a:gd name="f120" fmla="val 489560"/>
              <a:gd name="f121" fmla="val 488370"/>
              <a:gd name="f122" fmla="val 474864"/>
              <a:gd name="f123" fmla="val 499452"/>
              <a:gd name="f124" fmla="val 256642"/>
              <a:gd name="f125" fmla="val 409447"/>
              <a:gd name="f126" fmla="val 255413"/>
              <a:gd name="f127" fmla="val 254184"/>
              <a:gd name="f128" fmla="val 409115"/>
              <a:gd name="f129" fmla="val 253089"/>
              <a:gd name="f130" fmla="val 408488"/>
              <a:gd name="f131" fmla="val 205064"/>
              <a:gd name="f132" fmla="val 380848"/>
              <a:gd name="f133" fmla="val 212172"/>
              <a:gd name="f134" fmla="val 369478"/>
              <a:gd name="f135" fmla="val 256623"/>
              <a:gd name="f136" fmla="val 395073"/>
              <a:gd name="f137" fmla="val 326566"/>
              <a:gd name="f138" fmla="val 354423"/>
              <a:gd name="f139" fmla="val 336898"/>
              <a:gd name="f140" fmla="val 334522"/>
              <a:gd name="f141" fmla="val 327892"/>
              <a:gd name="f142" fmla="val 332328"/>
              <a:gd name="f143" fmla="val 330043"/>
              <a:gd name="f144" fmla="val 331149"/>
              <a:gd name="f145" fmla="val 349272"/>
              <a:gd name="f146" fmla="val 320517"/>
              <a:gd name="f147" fmla="val 351404"/>
              <a:gd name="f148" fmla="val 319338"/>
              <a:gd name="f149" fmla="val 354036"/>
              <a:gd name="f150" fmla="val 356168"/>
              <a:gd name="f151" fmla="val 375359"/>
              <a:gd name="f152" fmla="val 377491"/>
              <a:gd name="f153" fmla="val 378836"/>
              <a:gd name="f154" fmla="val 358164"/>
              <a:gd name="f155" fmla="val 360541"/>
              <a:gd name="f156" fmla="val 377510"/>
              <a:gd name="f157" fmla="val 362715"/>
              <a:gd name="f158" fmla="val 363913"/>
              <a:gd name="f159" fmla="val 374546"/>
              <a:gd name="f160" fmla="val 375725"/>
              <a:gd name="f161" fmla="val 333597"/>
              <a:gd name="f162" fmla="val 365866"/>
              <a:gd name="f163" fmla="val 260254"/>
              <a:gd name="f164" fmla="val 408470"/>
              <a:gd name="f165" fmla="val 259121"/>
              <a:gd name="f166" fmla="val 409133"/>
              <a:gd name="f167" fmla="val 257872"/>
              <a:gd name="f168" fmla="val 340397"/>
              <a:gd name="f169" fmla="val 354331"/>
              <a:gd name="f170" fmla="val 352711"/>
              <a:gd name="f171" fmla="val 361131"/>
              <a:gd name="f172" fmla="val 364986"/>
              <a:gd name="f173" fmla="val 340731"/>
              <a:gd name="f174" fmla="val 333932"/>
              <a:gd name="f175" fmla="val 160613"/>
              <a:gd name="f176" fmla="val 375448"/>
              <a:gd name="f177" fmla="val 159422"/>
              <a:gd name="f178" fmla="val 158231"/>
              <a:gd name="f179" fmla="val 375135"/>
              <a:gd name="f180" fmla="val 157155"/>
              <a:gd name="f181" fmla="val 137926"/>
              <a:gd name="f182" fmla="val 135775"/>
              <a:gd name="f183" fmla="val 362752"/>
              <a:gd name="f184" fmla="val 134468"/>
              <a:gd name="f185" fmla="val 153697"/>
              <a:gd name="f186" fmla="val 322415"/>
              <a:gd name="f187" fmla="val 153678"/>
              <a:gd name="f188" fmla="val 236968"/>
              <a:gd name="f189" fmla="val 234646"/>
              <a:gd name="f190" fmla="val 154946"/>
              <a:gd name="f191" fmla="val 232471"/>
              <a:gd name="f192" fmla="val 157040"/>
              <a:gd name="f193" fmla="val 231273"/>
              <a:gd name="f194" fmla="val 203633"/>
              <a:gd name="f195" fmla="val 215002"/>
              <a:gd name="f196" fmla="val 167509"/>
              <a:gd name="f197" fmla="val 240708"/>
              <a:gd name="f198" fmla="val 167528"/>
              <a:gd name="f199" fmla="val 183261"/>
              <a:gd name="f200" fmla="val 185393"/>
              <a:gd name="f201" fmla="val 186719"/>
              <a:gd name="f202" fmla="val 185413"/>
              <a:gd name="f203" fmla="val 164071"/>
              <a:gd name="f204" fmla="val 163014"/>
              <a:gd name="f205" fmla="val 161804"/>
              <a:gd name="f206" fmla="val 148299"/>
              <a:gd name="f207" fmla="val 172888"/>
              <a:gd name="f208" fmla="val 33002"/>
              <a:gd name="f209" fmla="val 365958"/>
              <a:gd name="f210" fmla="val 19171"/>
              <a:gd name="f211" fmla="val 19229"/>
              <a:gd name="f212" fmla="val 185519"/>
              <a:gd name="f213" fmla="val 176802"/>
              <a:gd name="f214" fmla="val 175605"/>
              <a:gd name="f215" fmla="val 173430"/>
              <a:gd name="f216" fmla="val 171053"/>
              <a:gd name="f217" fmla="val 149770"/>
              <a:gd name="f218" fmla="val 147393"/>
              <a:gd name="f219" fmla="val 145200"/>
              <a:gd name="f220" fmla="val 144021"/>
              <a:gd name="f221" fmla="val 133369"/>
              <a:gd name="f222" fmla="val 132190"/>
              <a:gd name="f223" fmla="val 144039"/>
              <a:gd name="f224" fmla="val 50944"/>
              <a:gd name="f225" fmla="val 145218"/>
              <a:gd name="f226" fmla="val 147411"/>
              <a:gd name="f227" fmla="val 173412"/>
              <a:gd name="f228" fmla="val 175623"/>
              <a:gd name="f229" fmla="val 33060"/>
              <a:gd name="f230" fmla="val 185537"/>
              <a:gd name="f231" fmla="val 167220"/>
              <a:gd name="f232" fmla="val 174039"/>
              <a:gd name="f233" fmla="val 153584"/>
              <a:gd name="f234" fmla="val 146766"/>
              <a:gd name="f235" fmla="val 153603"/>
              <a:gd name="f236" fmla="val 359607"/>
              <a:gd name="f237" fmla="val 292249"/>
              <a:gd name="f238" fmla="val 345776"/>
              <a:gd name="f239" fmla="val 200039"/>
              <a:gd name="f240" fmla="val 208718"/>
              <a:gd name="f241" fmla="val 209898"/>
              <a:gd name="f242" fmla="val 233994"/>
              <a:gd name="f243" fmla="val 198068"/>
              <a:gd name="f244" fmla="val 231862"/>
              <a:gd name="f245" fmla="val 196888"/>
              <a:gd name="f246" fmla="val 230537"/>
              <a:gd name="f247" fmla="val 194696"/>
              <a:gd name="f248" fmla="val 192318"/>
              <a:gd name="f249" fmla="val 168694"/>
              <a:gd name="f250" fmla="val 231843"/>
              <a:gd name="f251" fmla="val 166483"/>
              <a:gd name="f252" fmla="val 165304"/>
              <a:gd name="f253" fmla="val 154653"/>
              <a:gd name="f254" fmla="val 153474"/>
              <a:gd name="f255" fmla="val 279329"/>
              <a:gd name="f256" fmla="val 281462"/>
              <a:gd name="f257" fmla="val 282806"/>
              <a:gd name="f258" fmla="val 168676"/>
              <a:gd name="f259" fmla="val 188596"/>
              <a:gd name="f260" fmla="val 356303"/>
              <a:gd name="f261" fmla="val 231292"/>
              <a:gd name="f262" fmla="val 358358"/>
              <a:gd name="f263" fmla="val 232490"/>
              <a:gd name="f264" fmla="val 359646"/>
              <a:gd name="f265" fmla="val 188486"/>
              <a:gd name="f266" fmla="val 195303"/>
              <a:gd name="f267" fmla="val 174886"/>
              <a:gd name="f268" fmla="val 168068"/>
              <a:gd name="f269" fmla="val 188320"/>
              <a:gd name="f270" fmla="val 188025"/>
              <a:gd name="f271" fmla="val 187435"/>
              <a:gd name="f272" fmla="val 461033"/>
              <a:gd name="f273" fmla="val 153510"/>
              <a:gd name="f274" fmla="val 310699"/>
              <a:gd name="f275" fmla="val 65834"/>
              <a:gd name="f276" fmla="val 317864"/>
              <a:gd name="f277" fmla="val 54501"/>
              <a:gd name="f278" fmla="val 468045"/>
              <a:gd name="f279" fmla="val 142067"/>
              <a:gd name="f280" fmla="val 133388"/>
              <a:gd name="f281" fmla="val 485854"/>
              <a:gd name="f282" fmla="val 132227"/>
              <a:gd name="f283" fmla="val 488466"/>
              <a:gd name="f284" fmla="val 132209"/>
              <a:gd name="f285" fmla="val 511940"/>
              <a:gd name="f286" fmla="val 513283"/>
              <a:gd name="f287" fmla="val 149788"/>
              <a:gd name="f288" fmla="val 171072"/>
              <a:gd name="f289" fmla="val 175642"/>
              <a:gd name="f290" fmla="val 509810"/>
              <a:gd name="f291" fmla="val 176821"/>
              <a:gd name="f292" fmla="val 490618"/>
              <a:gd name="f293" fmla="val 187454"/>
              <a:gd name="f294" fmla="val 146785"/>
              <a:gd name="f295" fmla="val 87289"/>
              <a:gd name="f296" fmla="val 132098"/>
              <a:gd name="f297" fmla="val 80220"/>
              <a:gd name="f298" fmla="val 120710"/>
              <a:gd name="f299" fmla="val 34765"/>
              <a:gd name="f300" fmla="val 17259"/>
              <a:gd name="f301" fmla="val 14882"/>
              <a:gd name="f302" fmla="val 12689"/>
              <a:gd name="f303" fmla="val 11510"/>
              <a:gd name="f304" fmla="val 878"/>
              <a:gd name="f305" fmla="val -283"/>
              <a:gd name="f306" fmla="val -302"/>
              <a:gd name="f307" fmla="val 279291"/>
              <a:gd name="f308" fmla="val 282768"/>
              <a:gd name="f309" fmla="val 38543"/>
              <a:gd name="f310" fmla="val 40902"/>
              <a:gd name="f311" fmla="val 281442"/>
              <a:gd name="f312" fmla="val 43094"/>
              <a:gd name="f313" fmla="val 279310"/>
              <a:gd name="f314" fmla="val 44292"/>
              <a:gd name="f315" fmla="val 54943"/>
              <a:gd name="f316" fmla="val 56141"/>
              <a:gd name="f317" fmla="val 255356"/>
              <a:gd name="f318" fmla="val 56122"/>
              <a:gd name="f319" fmla="val 237471"/>
              <a:gd name="f320" fmla="val 46245"/>
              <a:gd name="f321" fmla="val 34710"/>
              <a:gd name="f322" fmla="val 41528"/>
              <a:gd name="f323" fmla="val 21074"/>
              <a:gd name="f324" fmla="val 14274"/>
              <a:gd name="f325" fmla="val 21092"/>
              <a:gd name="f326" fmla="+- 0 0 -90"/>
              <a:gd name="f327" fmla="*/ f3 1 513305"/>
              <a:gd name="f328" fmla="*/ f4 1 584507"/>
              <a:gd name="f329" fmla="val f5"/>
              <a:gd name="f330" fmla="val f6"/>
              <a:gd name="f331" fmla="val f7"/>
              <a:gd name="f332" fmla="*/ f326 f0 1"/>
              <a:gd name="f333" fmla="+- f331 0 f329"/>
              <a:gd name="f334" fmla="+- f330 0 f329"/>
              <a:gd name="f335" fmla="*/ f332 1 f2"/>
              <a:gd name="f336" fmla="*/ f334 1 513305"/>
              <a:gd name="f337" fmla="*/ f333 1 584507"/>
              <a:gd name="f338" fmla="*/ 256662 f334 1"/>
              <a:gd name="f339" fmla="*/ 584507 f333 1"/>
              <a:gd name="f340" fmla="*/ 253204 f334 1"/>
              <a:gd name="f341" fmla="*/ 583602 f333 1"/>
              <a:gd name="f342" fmla="*/ 233975 f334 1"/>
              <a:gd name="f343" fmla="*/ 572971 f333 1"/>
              <a:gd name="f344" fmla="*/ 230517 f334 1"/>
              <a:gd name="f345" fmla="*/ 567221 f333 1"/>
              <a:gd name="f346" fmla="*/ 545938 f333 1"/>
              <a:gd name="f347" fmla="*/ 540189 f333 1"/>
              <a:gd name="f348" fmla="*/ 529554 f333 1"/>
              <a:gd name="f349" fmla="*/ 260120 f334 1"/>
              <a:gd name="f350" fmla="*/ 275775 f334 1"/>
              <a:gd name="f351" fmla="*/ 538252 f333 1"/>
              <a:gd name="f352" fmla="*/ 425958 f334 1"/>
              <a:gd name="f353" fmla="*/ 452383 f333 1"/>
              <a:gd name="f354" fmla="*/ 433046 f334 1"/>
              <a:gd name="f355" fmla="*/ 463789 f333 1"/>
              <a:gd name="f356" fmla="*/ 282748 f334 1"/>
              <a:gd name="f357" fmla="*/ 549695 f333 1"/>
              <a:gd name="f358" fmla="*/ 279272 f334 1"/>
              <a:gd name="f359" fmla="*/ 260100 f334 1"/>
              <a:gd name="f360" fmla="*/ 244348 f334 1"/>
              <a:gd name="f361" fmla="*/ 563405 f333 1"/>
              <a:gd name="f362" fmla="*/ 570208 f333 1"/>
              <a:gd name="f363" fmla="*/ 268937 f334 1"/>
              <a:gd name="f364" fmla="*/ 549788 f333 1"/>
              <a:gd name="f365" fmla="*/ 542990 f333 1"/>
              <a:gd name="f366" fmla="*/ 195421 f334 1"/>
              <a:gd name="f367" fmla="*/ 529996 f333 1"/>
              <a:gd name="f368" fmla="*/ 45258 f334 1"/>
              <a:gd name="f369" fmla="*/ 442451 f333 1"/>
              <a:gd name="f370" fmla="*/ 29621 f334 1"/>
              <a:gd name="f371" fmla="*/ 451111 f333 1"/>
              <a:gd name="f372" fmla="*/ 22706 f334 1"/>
              <a:gd name="f373" fmla="*/ 3458 f334 1"/>
              <a:gd name="f374" fmla="*/ 440480 f333 1"/>
              <a:gd name="f375" fmla="*/ 0 f334 1"/>
              <a:gd name="f376" fmla="*/ 434731 f333 1"/>
              <a:gd name="f377" fmla="*/ 413445 f333 1"/>
              <a:gd name="f378" fmla="*/ 407696 f333 1"/>
              <a:gd name="f379" fmla="*/ 22687 f334 1"/>
              <a:gd name="f380" fmla="*/ 397064 f333 1"/>
              <a:gd name="f381" fmla="*/ 29602 f334 1"/>
              <a:gd name="f382" fmla="*/ 48793 f334 1"/>
              <a:gd name="f383" fmla="*/ 52250 f334 1"/>
              <a:gd name="f384" fmla="*/ 431007 f333 1"/>
              <a:gd name="f385" fmla="*/ 202605 f334 1"/>
              <a:gd name="f386" fmla="*/ 518666 f333 1"/>
              <a:gd name="f387" fmla="*/ 13831 f334 1"/>
              <a:gd name="f388" fmla="*/ 430898 f333 1"/>
              <a:gd name="f389" fmla="*/ 26144 f334 1"/>
              <a:gd name="f390" fmla="*/ 437696 f333 1"/>
              <a:gd name="f391" fmla="*/ 38420 f334 1"/>
              <a:gd name="f392" fmla="*/ 417278 f333 1"/>
              <a:gd name="f393" fmla="*/ 410479 f333 1"/>
              <a:gd name="f394" fmla="*/ 487180 f334 1"/>
              <a:gd name="f395" fmla="*/ 452012 f333 1"/>
              <a:gd name="f396" fmla="*/ 483720 f334 1"/>
              <a:gd name="f397" fmla="*/ 464493 f334 1"/>
              <a:gd name="f398" fmla="*/ 461015 f334 1"/>
              <a:gd name="f399" fmla="*/ 480242 f334 1"/>
              <a:gd name="f400" fmla="*/ 398961 f333 1"/>
              <a:gd name="f401" fmla="*/ 480185 f334 1"/>
              <a:gd name="f402" fmla="*/ 218540 f333 1"/>
              <a:gd name="f403" fmla="*/ 494038 f334 1"/>
              <a:gd name="f404" fmla="*/ 494113 f334 1"/>
              <a:gd name="f405" fmla="*/ 398980 f333 1"/>
              <a:gd name="f406" fmla="*/ 509828 f334 1"/>
              <a:gd name="f407" fmla="*/ 407715 f333 1"/>
              <a:gd name="f408" fmla="*/ 513305 f334 1"/>
              <a:gd name="f409" fmla="*/ 413464 f333 1"/>
              <a:gd name="f410" fmla="*/ 434747 f333 1"/>
              <a:gd name="f411" fmla="*/ 440497 f333 1"/>
              <a:gd name="f412" fmla="*/ 490636 f334 1"/>
              <a:gd name="f413" fmla="*/ 451128 f333 1"/>
              <a:gd name="f414" fmla="*/ 474864 f334 1"/>
              <a:gd name="f415" fmla="*/ 499452 f334 1"/>
              <a:gd name="f416" fmla="*/ 256642 f334 1"/>
              <a:gd name="f417" fmla="*/ 409447 f333 1"/>
              <a:gd name="f418" fmla="*/ 253089 f334 1"/>
              <a:gd name="f419" fmla="*/ 408488 f333 1"/>
              <a:gd name="f420" fmla="*/ 205064 f334 1"/>
              <a:gd name="f421" fmla="*/ 380848 f333 1"/>
              <a:gd name="f422" fmla="*/ 212172 f334 1"/>
              <a:gd name="f423" fmla="*/ 369478 f333 1"/>
              <a:gd name="f424" fmla="*/ 256623 f334 1"/>
              <a:gd name="f425" fmla="*/ 395073 f333 1"/>
              <a:gd name="f426" fmla="*/ 326566 f334 1"/>
              <a:gd name="f427" fmla="*/ 354423 f333 1"/>
              <a:gd name="f428" fmla="*/ 336898 f333 1"/>
              <a:gd name="f429" fmla="*/ 330043 f334 1"/>
              <a:gd name="f430" fmla="*/ 331149 f333 1"/>
              <a:gd name="f431" fmla="*/ 349272 f334 1"/>
              <a:gd name="f432" fmla="*/ 320517 f333 1"/>
              <a:gd name="f433" fmla="*/ 356168 f334 1"/>
              <a:gd name="f434" fmla="*/ 375359 f334 1"/>
              <a:gd name="f435" fmla="*/ 378836 f334 1"/>
              <a:gd name="f436" fmla="*/ 358164 f333 1"/>
              <a:gd name="f437" fmla="*/ 363913 f333 1"/>
              <a:gd name="f438" fmla="*/ 374546 f333 1"/>
              <a:gd name="f439" fmla="*/ 333597 f334 1"/>
              <a:gd name="f440" fmla="*/ 365866 f333 1"/>
              <a:gd name="f441" fmla="*/ 260254 f334 1"/>
              <a:gd name="f442" fmla="*/ 408470 f333 1"/>
              <a:gd name="f443" fmla="*/ 340397 f334 1"/>
              <a:gd name="f444" fmla="*/ 354331 f333 1"/>
              <a:gd name="f445" fmla="*/ 352711 f334 1"/>
              <a:gd name="f446" fmla="*/ 361131 f333 1"/>
              <a:gd name="f447" fmla="*/ 364986 f334 1"/>
              <a:gd name="f448" fmla="*/ 340731 f333 1"/>
              <a:gd name="f449" fmla="*/ 333932 f333 1"/>
              <a:gd name="f450" fmla="*/ 160613 f334 1"/>
              <a:gd name="f451" fmla="*/ 375448 f333 1"/>
              <a:gd name="f452" fmla="*/ 157155 f334 1"/>
              <a:gd name="f453" fmla="*/ 137926 f334 1"/>
              <a:gd name="f454" fmla="*/ 134468 f334 1"/>
              <a:gd name="f455" fmla="*/ 153697 f334 1"/>
              <a:gd name="f456" fmla="*/ 322415 f333 1"/>
              <a:gd name="f457" fmla="*/ 153678 f334 1"/>
              <a:gd name="f458" fmla="*/ 236968 f333 1"/>
              <a:gd name="f459" fmla="*/ 157040 f334 1"/>
              <a:gd name="f460" fmla="*/ 231273 f333 1"/>
              <a:gd name="f461" fmla="*/ 203633 f333 1"/>
              <a:gd name="f462" fmla="*/ 215002 f333 1"/>
              <a:gd name="f463" fmla="*/ 167509 f334 1"/>
              <a:gd name="f464" fmla="*/ 240708 f333 1"/>
              <a:gd name="f465" fmla="*/ 167528 f334 1"/>
              <a:gd name="f466" fmla="*/ 183261 f334 1"/>
              <a:gd name="f467" fmla="*/ 186719 f334 1"/>
              <a:gd name="f468" fmla="*/ 164071 f334 1"/>
              <a:gd name="f469" fmla="*/ 148299 f334 1"/>
              <a:gd name="f470" fmla="*/ 172888 f334 1"/>
              <a:gd name="f471" fmla="*/ 33002 f334 1"/>
              <a:gd name="f472" fmla="*/ 365958 f333 1"/>
              <a:gd name="f473" fmla="*/ 19171 f334 1"/>
              <a:gd name="f474" fmla="*/ 19229 f334 1"/>
              <a:gd name="f475" fmla="*/ 185519 f333 1"/>
              <a:gd name="f476" fmla="*/ 176802 f333 1"/>
              <a:gd name="f477" fmla="*/ 171053 f333 1"/>
              <a:gd name="f478" fmla="*/ 149770 f333 1"/>
              <a:gd name="f479" fmla="*/ 144021 f333 1"/>
              <a:gd name="f480" fmla="*/ 133369 f333 1"/>
              <a:gd name="f481" fmla="*/ 144039 f333 1"/>
              <a:gd name="f482" fmla="*/ 33060 f334 1"/>
              <a:gd name="f483" fmla="*/ 185537 f333 1"/>
              <a:gd name="f484" fmla="*/ 167220 f333 1"/>
              <a:gd name="f485" fmla="*/ 174039 f333 1"/>
              <a:gd name="f486" fmla="*/ 153584 f333 1"/>
              <a:gd name="f487" fmla="*/ 146766 f333 1"/>
              <a:gd name="f488" fmla="*/ 153603 f333 1"/>
              <a:gd name="f489" fmla="*/ 359607 f334 1"/>
              <a:gd name="f490" fmla="*/ 292249 f333 1"/>
              <a:gd name="f491" fmla="*/ 345776 f334 1"/>
              <a:gd name="f492" fmla="*/ 200039 f333 1"/>
              <a:gd name="f493" fmla="*/ 208718 f333 1"/>
              <a:gd name="f494" fmla="*/ 233994 f334 1"/>
              <a:gd name="f495" fmla="*/ 198068 f333 1"/>
              <a:gd name="f496" fmla="*/ 230537 f334 1"/>
              <a:gd name="f497" fmla="*/ 192318 f333 1"/>
              <a:gd name="f498" fmla="*/ 165304 f333 1"/>
              <a:gd name="f499" fmla="*/ 154653 f333 1"/>
              <a:gd name="f500" fmla="*/ 279329 f334 1"/>
              <a:gd name="f501" fmla="*/ 282806 f334 1"/>
              <a:gd name="f502" fmla="*/ 188596 f333 1"/>
              <a:gd name="f503" fmla="*/ 356303 f334 1"/>
              <a:gd name="f504" fmla="*/ 231292 f333 1"/>
              <a:gd name="f505" fmla="*/ 359646 f334 1"/>
              <a:gd name="f506" fmla="*/ 188486 f333 1"/>
              <a:gd name="f507" fmla="*/ 195303 f333 1"/>
              <a:gd name="f508" fmla="*/ 174886 f333 1"/>
              <a:gd name="f509" fmla="*/ 168068 f333 1"/>
              <a:gd name="f510" fmla="*/ 188320 f333 1"/>
              <a:gd name="f511" fmla="*/ 187435 f333 1"/>
              <a:gd name="f512" fmla="*/ 461033 f334 1"/>
              <a:gd name="f513" fmla="*/ 153510 f333 1"/>
              <a:gd name="f514" fmla="*/ 310699 f334 1"/>
              <a:gd name="f515" fmla="*/ 65834 f333 1"/>
              <a:gd name="f516" fmla="*/ 317864 f334 1"/>
              <a:gd name="f517" fmla="*/ 54501 f333 1"/>
              <a:gd name="f518" fmla="*/ 468045 f334 1"/>
              <a:gd name="f519" fmla="*/ 142067 f333 1"/>
              <a:gd name="f520" fmla="*/ 133388 f333 1"/>
              <a:gd name="f521" fmla="*/ 513283 f334 1"/>
              <a:gd name="f522" fmla="*/ 149788 f333 1"/>
              <a:gd name="f523" fmla="*/ 171072 f333 1"/>
              <a:gd name="f524" fmla="*/ 509810 f334 1"/>
              <a:gd name="f525" fmla="*/ 176821 f333 1"/>
              <a:gd name="f526" fmla="*/ 490618 f334 1"/>
              <a:gd name="f527" fmla="*/ 187454 f333 1"/>
              <a:gd name="f528" fmla="*/ 146785 f333 1"/>
              <a:gd name="f529" fmla="*/ 87289 f334 1"/>
              <a:gd name="f530" fmla="*/ 132098 f333 1"/>
              <a:gd name="f531" fmla="*/ 80220 f334 1"/>
              <a:gd name="f532" fmla="*/ 120710 f333 1"/>
              <a:gd name="f533" fmla="*/ 34765 f333 1"/>
              <a:gd name="f534" fmla="*/ 17259 f333 1"/>
              <a:gd name="f535" fmla="*/ 11510 f333 1"/>
              <a:gd name="f536" fmla="*/ 878 f333 1"/>
              <a:gd name="f537" fmla="*/ 279291 f334 1"/>
              <a:gd name="f538" fmla="*/ 282768 f334 1"/>
              <a:gd name="f539" fmla="*/ 38543 f333 1"/>
              <a:gd name="f540" fmla="*/ 279310 f334 1"/>
              <a:gd name="f541" fmla="*/ 44292 f333 1"/>
              <a:gd name="f542" fmla="*/ 54943 f333 1"/>
              <a:gd name="f543" fmla="*/ 237471 f334 1"/>
              <a:gd name="f544" fmla="*/ 46245 f333 1"/>
              <a:gd name="f545" fmla="*/ 34710 f333 1"/>
              <a:gd name="f546" fmla="*/ 41528 f333 1"/>
              <a:gd name="f547" fmla="*/ 21074 f333 1"/>
              <a:gd name="f548" fmla="*/ 14274 f333 1"/>
              <a:gd name="f549" fmla="*/ 21092 f333 1"/>
              <a:gd name="f550" fmla="+- f335 0 f1"/>
              <a:gd name="f551" fmla="*/ f338 1 513305"/>
              <a:gd name="f552" fmla="*/ f339 1 584507"/>
              <a:gd name="f553" fmla="*/ f340 1 513305"/>
              <a:gd name="f554" fmla="*/ f341 1 584507"/>
              <a:gd name="f555" fmla="*/ f342 1 513305"/>
              <a:gd name="f556" fmla="*/ f343 1 584507"/>
              <a:gd name="f557" fmla="*/ f344 1 513305"/>
              <a:gd name="f558" fmla="*/ f345 1 584507"/>
              <a:gd name="f559" fmla="*/ f346 1 584507"/>
              <a:gd name="f560" fmla="*/ f347 1 584507"/>
              <a:gd name="f561" fmla="*/ f348 1 584507"/>
              <a:gd name="f562" fmla="*/ f349 1 513305"/>
              <a:gd name="f563" fmla="*/ f350 1 513305"/>
              <a:gd name="f564" fmla="*/ f351 1 584507"/>
              <a:gd name="f565" fmla="*/ f352 1 513305"/>
              <a:gd name="f566" fmla="*/ f353 1 584507"/>
              <a:gd name="f567" fmla="*/ f354 1 513305"/>
              <a:gd name="f568" fmla="*/ f355 1 584507"/>
              <a:gd name="f569" fmla="*/ f356 1 513305"/>
              <a:gd name="f570" fmla="*/ f357 1 584507"/>
              <a:gd name="f571" fmla="*/ f358 1 513305"/>
              <a:gd name="f572" fmla="*/ f359 1 513305"/>
              <a:gd name="f573" fmla="*/ f360 1 513305"/>
              <a:gd name="f574" fmla="*/ f361 1 584507"/>
              <a:gd name="f575" fmla="*/ f362 1 584507"/>
              <a:gd name="f576" fmla="*/ f363 1 513305"/>
              <a:gd name="f577" fmla="*/ f364 1 584507"/>
              <a:gd name="f578" fmla="*/ f365 1 584507"/>
              <a:gd name="f579" fmla="*/ f366 1 513305"/>
              <a:gd name="f580" fmla="*/ f367 1 584507"/>
              <a:gd name="f581" fmla="*/ f368 1 513305"/>
              <a:gd name="f582" fmla="*/ f369 1 584507"/>
              <a:gd name="f583" fmla="*/ f370 1 513305"/>
              <a:gd name="f584" fmla="*/ f371 1 584507"/>
              <a:gd name="f585" fmla="*/ f372 1 513305"/>
              <a:gd name="f586" fmla="*/ f373 1 513305"/>
              <a:gd name="f587" fmla="*/ f374 1 584507"/>
              <a:gd name="f588" fmla="*/ f375 1 513305"/>
              <a:gd name="f589" fmla="*/ f376 1 584507"/>
              <a:gd name="f590" fmla="*/ f377 1 584507"/>
              <a:gd name="f591" fmla="*/ f378 1 584507"/>
              <a:gd name="f592" fmla="*/ f379 1 513305"/>
              <a:gd name="f593" fmla="*/ f380 1 584507"/>
              <a:gd name="f594" fmla="*/ f381 1 513305"/>
              <a:gd name="f595" fmla="*/ f382 1 513305"/>
              <a:gd name="f596" fmla="*/ f383 1 513305"/>
              <a:gd name="f597" fmla="*/ f384 1 584507"/>
              <a:gd name="f598" fmla="*/ f385 1 513305"/>
              <a:gd name="f599" fmla="*/ f386 1 584507"/>
              <a:gd name="f600" fmla="*/ f387 1 513305"/>
              <a:gd name="f601" fmla="*/ f388 1 584507"/>
              <a:gd name="f602" fmla="*/ f389 1 513305"/>
              <a:gd name="f603" fmla="*/ f390 1 584507"/>
              <a:gd name="f604" fmla="*/ f391 1 513305"/>
              <a:gd name="f605" fmla="*/ f392 1 584507"/>
              <a:gd name="f606" fmla="*/ f393 1 584507"/>
              <a:gd name="f607" fmla="*/ f394 1 513305"/>
              <a:gd name="f608" fmla="*/ f395 1 584507"/>
              <a:gd name="f609" fmla="*/ f396 1 513305"/>
              <a:gd name="f610" fmla="*/ f397 1 513305"/>
              <a:gd name="f611" fmla="*/ f398 1 513305"/>
              <a:gd name="f612" fmla="*/ f399 1 513305"/>
              <a:gd name="f613" fmla="*/ f400 1 584507"/>
              <a:gd name="f614" fmla="*/ f401 1 513305"/>
              <a:gd name="f615" fmla="*/ f402 1 584507"/>
              <a:gd name="f616" fmla="*/ f403 1 513305"/>
              <a:gd name="f617" fmla="*/ f404 1 513305"/>
              <a:gd name="f618" fmla="*/ f405 1 584507"/>
              <a:gd name="f619" fmla="*/ f406 1 513305"/>
              <a:gd name="f620" fmla="*/ f407 1 584507"/>
              <a:gd name="f621" fmla="*/ f408 1 513305"/>
              <a:gd name="f622" fmla="*/ f409 1 584507"/>
              <a:gd name="f623" fmla="*/ f410 1 584507"/>
              <a:gd name="f624" fmla="*/ f411 1 584507"/>
              <a:gd name="f625" fmla="*/ f412 1 513305"/>
              <a:gd name="f626" fmla="*/ f413 1 584507"/>
              <a:gd name="f627" fmla="*/ f414 1 513305"/>
              <a:gd name="f628" fmla="*/ f415 1 513305"/>
              <a:gd name="f629" fmla="*/ f416 1 513305"/>
              <a:gd name="f630" fmla="*/ f417 1 584507"/>
              <a:gd name="f631" fmla="*/ f418 1 513305"/>
              <a:gd name="f632" fmla="*/ f419 1 584507"/>
              <a:gd name="f633" fmla="*/ f420 1 513305"/>
              <a:gd name="f634" fmla="*/ f421 1 584507"/>
              <a:gd name="f635" fmla="*/ f422 1 513305"/>
              <a:gd name="f636" fmla="*/ f423 1 584507"/>
              <a:gd name="f637" fmla="*/ f424 1 513305"/>
              <a:gd name="f638" fmla="*/ f425 1 584507"/>
              <a:gd name="f639" fmla="*/ f426 1 513305"/>
              <a:gd name="f640" fmla="*/ f427 1 584507"/>
              <a:gd name="f641" fmla="*/ f428 1 584507"/>
              <a:gd name="f642" fmla="*/ f429 1 513305"/>
              <a:gd name="f643" fmla="*/ f430 1 584507"/>
              <a:gd name="f644" fmla="*/ f431 1 513305"/>
              <a:gd name="f645" fmla="*/ f432 1 584507"/>
              <a:gd name="f646" fmla="*/ f433 1 513305"/>
              <a:gd name="f647" fmla="*/ f434 1 513305"/>
              <a:gd name="f648" fmla="*/ f435 1 513305"/>
              <a:gd name="f649" fmla="*/ f436 1 584507"/>
              <a:gd name="f650" fmla="*/ f437 1 584507"/>
              <a:gd name="f651" fmla="*/ f438 1 584507"/>
              <a:gd name="f652" fmla="*/ f439 1 513305"/>
              <a:gd name="f653" fmla="*/ f440 1 584507"/>
              <a:gd name="f654" fmla="*/ f441 1 513305"/>
              <a:gd name="f655" fmla="*/ f442 1 584507"/>
              <a:gd name="f656" fmla="*/ f443 1 513305"/>
              <a:gd name="f657" fmla="*/ f444 1 584507"/>
              <a:gd name="f658" fmla="*/ f445 1 513305"/>
              <a:gd name="f659" fmla="*/ f446 1 584507"/>
              <a:gd name="f660" fmla="*/ f447 1 513305"/>
              <a:gd name="f661" fmla="*/ f448 1 584507"/>
              <a:gd name="f662" fmla="*/ f449 1 584507"/>
              <a:gd name="f663" fmla="*/ f450 1 513305"/>
              <a:gd name="f664" fmla="*/ f451 1 584507"/>
              <a:gd name="f665" fmla="*/ f452 1 513305"/>
              <a:gd name="f666" fmla="*/ f453 1 513305"/>
              <a:gd name="f667" fmla="*/ f454 1 513305"/>
              <a:gd name="f668" fmla="*/ f455 1 513305"/>
              <a:gd name="f669" fmla="*/ f456 1 584507"/>
              <a:gd name="f670" fmla="*/ f457 1 513305"/>
              <a:gd name="f671" fmla="*/ f458 1 584507"/>
              <a:gd name="f672" fmla="*/ f459 1 513305"/>
              <a:gd name="f673" fmla="*/ f460 1 584507"/>
              <a:gd name="f674" fmla="*/ f461 1 584507"/>
              <a:gd name="f675" fmla="*/ f462 1 584507"/>
              <a:gd name="f676" fmla="*/ f463 1 513305"/>
              <a:gd name="f677" fmla="*/ f464 1 584507"/>
              <a:gd name="f678" fmla="*/ f465 1 513305"/>
              <a:gd name="f679" fmla="*/ f466 1 513305"/>
              <a:gd name="f680" fmla="*/ f467 1 513305"/>
              <a:gd name="f681" fmla="*/ f468 1 513305"/>
              <a:gd name="f682" fmla="*/ f469 1 513305"/>
              <a:gd name="f683" fmla="*/ f470 1 513305"/>
              <a:gd name="f684" fmla="*/ f471 1 513305"/>
              <a:gd name="f685" fmla="*/ f472 1 584507"/>
              <a:gd name="f686" fmla="*/ f473 1 513305"/>
              <a:gd name="f687" fmla="*/ f474 1 513305"/>
              <a:gd name="f688" fmla="*/ f475 1 584507"/>
              <a:gd name="f689" fmla="*/ f476 1 584507"/>
              <a:gd name="f690" fmla="*/ f477 1 584507"/>
              <a:gd name="f691" fmla="*/ f478 1 584507"/>
              <a:gd name="f692" fmla="*/ f479 1 584507"/>
              <a:gd name="f693" fmla="*/ f480 1 584507"/>
              <a:gd name="f694" fmla="*/ f481 1 584507"/>
              <a:gd name="f695" fmla="*/ f482 1 513305"/>
              <a:gd name="f696" fmla="*/ f483 1 584507"/>
              <a:gd name="f697" fmla="*/ f484 1 584507"/>
              <a:gd name="f698" fmla="*/ f485 1 584507"/>
              <a:gd name="f699" fmla="*/ f486 1 584507"/>
              <a:gd name="f700" fmla="*/ f487 1 584507"/>
              <a:gd name="f701" fmla="*/ f488 1 584507"/>
              <a:gd name="f702" fmla="*/ f489 1 513305"/>
              <a:gd name="f703" fmla="*/ f490 1 584507"/>
              <a:gd name="f704" fmla="*/ f491 1 513305"/>
              <a:gd name="f705" fmla="*/ f492 1 584507"/>
              <a:gd name="f706" fmla="*/ f493 1 584507"/>
              <a:gd name="f707" fmla="*/ f494 1 513305"/>
              <a:gd name="f708" fmla="*/ f495 1 584507"/>
              <a:gd name="f709" fmla="*/ f496 1 513305"/>
              <a:gd name="f710" fmla="*/ f497 1 584507"/>
              <a:gd name="f711" fmla="*/ f498 1 584507"/>
              <a:gd name="f712" fmla="*/ f499 1 584507"/>
              <a:gd name="f713" fmla="*/ f500 1 513305"/>
              <a:gd name="f714" fmla="*/ f501 1 513305"/>
              <a:gd name="f715" fmla="*/ f502 1 584507"/>
              <a:gd name="f716" fmla="*/ f503 1 513305"/>
              <a:gd name="f717" fmla="*/ f504 1 584507"/>
              <a:gd name="f718" fmla="*/ f505 1 513305"/>
              <a:gd name="f719" fmla="*/ f506 1 584507"/>
              <a:gd name="f720" fmla="*/ f507 1 584507"/>
              <a:gd name="f721" fmla="*/ f508 1 584507"/>
              <a:gd name="f722" fmla="*/ f509 1 584507"/>
              <a:gd name="f723" fmla="*/ f510 1 584507"/>
              <a:gd name="f724" fmla="*/ f511 1 584507"/>
              <a:gd name="f725" fmla="*/ f512 1 513305"/>
              <a:gd name="f726" fmla="*/ f513 1 584507"/>
              <a:gd name="f727" fmla="*/ f514 1 513305"/>
              <a:gd name="f728" fmla="*/ f515 1 584507"/>
              <a:gd name="f729" fmla="*/ f516 1 513305"/>
              <a:gd name="f730" fmla="*/ f517 1 584507"/>
              <a:gd name="f731" fmla="*/ f518 1 513305"/>
              <a:gd name="f732" fmla="*/ f519 1 584507"/>
              <a:gd name="f733" fmla="*/ f520 1 584507"/>
              <a:gd name="f734" fmla="*/ f521 1 513305"/>
              <a:gd name="f735" fmla="*/ f522 1 584507"/>
              <a:gd name="f736" fmla="*/ f523 1 584507"/>
              <a:gd name="f737" fmla="*/ f524 1 513305"/>
              <a:gd name="f738" fmla="*/ f525 1 584507"/>
              <a:gd name="f739" fmla="*/ f526 1 513305"/>
              <a:gd name="f740" fmla="*/ f527 1 584507"/>
              <a:gd name="f741" fmla="*/ f528 1 584507"/>
              <a:gd name="f742" fmla="*/ f529 1 513305"/>
              <a:gd name="f743" fmla="*/ f530 1 584507"/>
              <a:gd name="f744" fmla="*/ f531 1 513305"/>
              <a:gd name="f745" fmla="*/ f532 1 584507"/>
              <a:gd name="f746" fmla="*/ f533 1 584507"/>
              <a:gd name="f747" fmla="*/ f534 1 584507"/>
              <a:gd name="f748" fmla="*/ f535 1 584507"/>
              <a:gd name="f749" fmla="*/ f536 1 584507"/>
              <a:gd name="f750" fmla="*/ f537 1 513305"/>
              <a:gd name="f751" fmla="*/ f538 1 513305"/>
              <a:gd name="f752" fmla="*/ f539 1 584507"/>
              <a:gd name="f753" fmla="*/ f540 1 513305"/>
              <a:gd name="f754" fmla="*/ f541 1 584507"/>
              <a:gd name="f755" fmla="*/ f542 1 584507"/>
              <a:gd name="f756" fmla="*/ f543 1 513305"/>
              <a:gd name="f757" fmla="*/ f544 1 584507"/>
              <a:gd name="f758" fmla="*/ f545 1 584507"/>
              <a:gd name="f759" fmla="*/ f546 1 584507"/>
              <a:gd name="f760" fmla="*/ f547 1 584507"/>
              <a:gd name="f761" fmla="*/ f548 1 584507"/>
              <a:gd name="f762" fmla="*/ f549 1 584507"/>
              <a:gd name="f763" fmla="*/ f329 1 f336"/>
              <a:gd name="f764" fmla="*/ f330 1 f336"/>
              <a:gd name="f765" fmla="*/ f329 1 f337"/>
              <a:gd name="f766" fmla="*/ f331 1 f337"/>
              <a:gd name="f767" fmla="*/ f551 1 f336"/>
              <a:gd name="f768" fmla="*/ f552 1 f337"/>
              <a:gd name="f769" fmla="*/ f553 1 f336"/>
              <a:gd name="f770" fmla="*/ f554 1 f337"/>
              <a:gd name="f771" fmla="*/ f555 1 f336"/>
              <a:gd name="f772" fmla="*/ f556 1 f337"/>
              <a:gd name="f773" fmla="*/ f557 1 f336"/>
              <a:gd name="f774" fmla="*/ f558 1 f337"/>
              <a:gd name="f775" fmla="*/ f559 1 f337"/>
              <a:gd name="f776" fmla="*/ f560 1 f337"/>
              <a:gd name="f777" fmla="*/ f561 1 f337"/>
              <a:gd name="f778" fmla="*/ f562 1 f336"/>
              <a:gd name="f779" fmla="*/ f563 1 f336"/>
              <a:gd name="f780" fmla="*/ f564 1 f337"/>
              <a:gd name="f781" fmla="*/ f565 1 f336"/>
              <a:gd name="f782" fmla="*/ f566 1 f337"/>
              <a:gd name="f783" fmla="*/ f567 1 f336"/>
              <a:gd name="f784" fmla="*/ f568 1 f337"/>
              <a:gd name="f785" fmla="*/ f569 1 f336"/>
              <a:gd name="f786" fmla="*/ f570 1 f337"/>
              <a:gd name="f787" fmla="*/ f571 1 f336"/>
              <a:gd name="f788" fmla="*/ f572 1 f336"/>
              <a:gd name="f789" fmla="*/ f573 1 f336"/>
              <a:gd name="f790" fmla="*/ f574 1 f337"/>
              <a:gd name="f791" fmla="*/ f575 1 f337"/>
              <a:gd name="f792" fmla="*/ f576 1 f336"/>
              <a:gd name="f793" fmla="*/ f577 1 f337"/>
              <a:gd name="f794" fmla="*/ f578 1 f337"/>
              <a:gd name="f795" fmla="*/ f579 1 f336"/>
              <a:gd name="f796" fmla="*/ f580 1 f337"/>
              <a:gd name="f797" fmla="*/ f581 1 f336"/>
              <a:gd name="f798" fmla="*/ f582 1 f337"/>
              <a:gd name="f799" fmla="*/ f583 1 f336"/>
              <a:gd name="f800" fmla="*/ f584 1 f337"/>
              <a:gd name="f801" fmla="*/ f585 1 f336"/>
              <a:gd name="f802" fmla="*/ f586 1 f336"/>
              <a:gd name="f803" fmla="*/ f587 1 f337"/>
              <a:gd name="f804" fmla="*/ f588 1 f336"/>
              <a:gd name="f805" fmla="*/ f589 1 f337"/>
              <a:gd name="f806" fmla="*/ f590 1 f337"/>
              <a:gd name="f807" fmla="*/ f591 1 f337"/>
              <a:gd name="f808" fmla="*/ f592 1 f336"/>
              <a:gd name="f809" fmla="*/ f593 1 f337"/>
              <a:gd name="f810" fmla="*/ f594 1 f336"/>
              <a:gd name="f811" fmla="*/ f595 1 f336"/>
              <a:gd name="f812" fmla="*/ f596 1 f336"/>
              <a:gd name="f813" fmla="*/ f597 1 f337"/>
              <a:gd name="f814" fmla="*/ f598 1 f336"/>
              <a:gd name="f815" fmla="*/ f599 1 f337"/>
              <a:gd name="f816" fmla="*/ f600 1 f336"/>
              <a:gd name="f817" fmla="*/ f601 1 f337"/>
              <a:gd name="f818" fmla="*/ f602 1 f336"/>
              <a:gd name="f819" fmla="*/ f603 1 f337"/>
              <a:gd name="f820" fmla="*/ f604 1 f336"/>
              <a:gd name="f821" fmla="*/ f605 1 f337"/>
              <a:gd name="f822" fmla="*/ f606 1 f337"/>
              <a:gd name="f823" fmla="*/ f607 1 f336"/>
              <a:gd name="f824" fmla="*/ f608 1 f337"/>
              <a:gd name="f825" fmla="*/ f609 1 f336"/>
              <a:gd name="f826" fmla="*/ f610 1 f336"/>
              <a:gd name="f827" fmla="*/ f611 1 f336"/>
              <a:gd name="f828" fmla="*/ f612 1 f336"/>
              <a:gd name="f829" fmla="*/ f613 1 f337"/>
              <a:gd name="f830" fmla="*/ f614 1 f336"/>
              <a:gd name="f831" fmla="*/ f615 1 f337"/>
              <a:gd name="f832" fmla="*/ f616 1 f336"/>
              <a:gd name="f833" fmla="*/ f617 1 f336"/>
              <a:gd name="f834" fmla="*/ f618 1 f337"/>
              <a:gd name="f835" fmla="*/ f619 1 f336"/>
              <a:gd name="f836" fmla="*/ f620 1 f337"/>
              <a:gd name="f837" fmla="*/ f621 1 f336"/>
              <a:gd name="f838" fmla="*/ f622 1 f337"/>
              <a:gd name="f839" fmla="*/ f623 1 f337"/>
              <a:gd name="f840" fmla="*/ f624 1 f337"/>
              <a:gd name="f841" fmla="*/ f625 1 f336"/>
              <a:gd name="f842" fmla="*/ f626 1 f337"/>
              <a:gd name="f843" fmla="*/ f627 1 f336"/>
              <a:gd name="f844" fmla="*/ f628 1 f336"/>
              <a:gd name="f845" fmla="*/ f629 1 f336"/>
              <a:gd name="f846" fmla="*/ f630 1 f337"/>
              <a:gd name="f847" fmla="*/ f631 1 f336"/>
              <a:gd name="f848" fmla="*/ f632 1 f337"/>
              <a:gd name="f849" fmla="*/ f633 1 f336"/>
              <a:gd name="f850" fmla="*/ f634 1 f337"/>
              <a:gd name="f851" fmla="*/ f635 1 f336"/>
              <a:gd name="f852" fmla="*/ f636 1 f337"/>
              <a:gd name="f853" fmla="*/ f637 1 f336"/>
              <a:gd name="f854" fmla="*/ f638 1 f337"/>
              <a:gd name="f855" fmla="*/ f639 1 f336"/>
              <a:gd name="f856" fmla="*/ f640 1 f337"/>
              <a:gd name="f857" fmla="*/ f641 1 f337"/>
              <a:gd name="f858" fmla="*/ f642 1 f336"/>
              <a:gd name="f859" fmla="*/ f643 1 f337"/>
              <a:gd name="f860" fmla="*/ f644 1 f336"/>
              <a:gd name="f861" fmla="*/ f645 1 f337"/>
              <a:gd name="f862" fmla="*/ f646 1 f336"/>
              <a:gd name="f863" fmla="*/ f647 1 f336"/>
              <a:gd name="f864" fmla="*/ f648 1 f336"/>
              <a:gd name="f865" fmla="*/ f649 1 f337"/>
              <a:gd name="f866" fmla="*/ f650 1 f337"/>
              <a:gd name="f867" fmla="*/ f651 1 f337"/>
              <a:gd name="f868" fmla="*/ f652 1 f336"/>
              <a:gd name="f869" fmla="*/ f653 1 f337"/>
              <a:gd name="f870" fmla="*/ f654 1 f336"/>
              <a:gd name="f871" fmla="*/ f655 1 f337"/>
              <a:gd name="f872" fmla="*/ f656 1 f336"/>
              <a:gd name="f873" fmla="*/ f657 1 f337"/>
              <a:gd name="f874" fmla="*/ f658 1 f336"/>
              <a:gd name="f875" fmla="*/ f659 1 f337"/>
              <a:gd name="f876" fmla="*/ f660 1 f336"/>
              <a:gd name="f877" fmla="*/ f661 1 f337"/>
              <a:gd name="f878" fmla="*/ f662 1 f337"/>
              <a:gd name="f879" fmla="*/ f663 1 f336"/>
              <a:gd name="f880" fmla="*/ f664 1 f337"/>
              <a:gd name="f881" fmla="*/ f665 1 f336"/>
              <a:gd name="f882" fmla="*/ f666 1 f336"/>
              <a:gd name="f883" fmla="*/ f667 1 f336"/>
              <a:gd name="f884" fmla="*/ f668 1 f336"/>
              <a:gd name="f885" fmla="*/ f669 1 f337"/>
              <a:gd name="f886" fmla="*/ f670 1 f336"/>
              <a:gd name="f887" fmla="*/ f671 1 f337"/>
              <a:gd name="f888" fmla="*/ f672 1 f336"/>
              <a:gd name="f889" fmla="*/ f673 1 f337"/>
              <a:gd name="f890" fmla="*/ f674 1 f337"/>
              <a:gd name="f891" fmla="*/ f675 1 f337"/>
              <a:gd name="f892" fmla="*/ f676 1 f336"/>
              <a:gd name="f893" fmla="*/ f677 1 f337"/>
              <a:gd name="f894" fmla="*/ f678 1 f336"/>
              <a:gd name="f895" fmla="*/ f679 1 f336"/>
              <a:gd name="f896" fmla="*/ f680 1 f336"/>
              <a:gd name="f897" fmla="*/ f681 1 f336"/>
              <a:gd name="f898" fmla="*/ f682 1 f336"/>
              <a:gd name="f899" fmla="*/ f683 1 f336"/>
              <a:gd name="f900" fmla="*/ f684 1 f336"/>
              <a:gd name="f901" fmla="*/ f685 1 f337"/>
              <a:gd name="f902" fmla="*/ f686 1 f336"/>
              <a:gd name="f903" fmla="*/ f687 1 f336"/>
              <a:gd name="f904" fmla="*/ f688 1 f337"/>
              <a:gd name="f905" fmla="*/ f689 1 f337"/>
              <a:gd name="f906" fmla="*/ f690 1 f337"/>
              <a:gd name="f907" fmla="*/ f691 1 f337"/>
              <a:gd name="f908" fmla="*/ f692 1 f337"/>
              <a:gd name="f909" fmla="*/ f693 1 f337"/>
              <a:gd name="f910" fmla="*/ f694 1 f337"/>
              <a:gd name="f911" fmla="*/ f695 1 f336"/>
              <a:gd name="f912" fmla="*/ f696 1 f337"/>
              <a:gd name="f913" fmla="*/ f697 1 f337"/>
              <a:gd name="f914" fmla="*/ f698 1 f337"/>
              <a:gd name="f915" fmla="*/ f699 1 f337"/>
              <a:gd name="f916" fmla="*/ f700 1 f337"/>
              <a:gd name="f917" fmla="*/ f701 1 f337"/>
              <a:gd name="f918" fmla="*/ f702 1 f336"/>
              <a:gd name="f919" fmla="*/ f703 1 f337"/>
              <a:gd name="f920" fmla="*/ f704 1 f336"/>
              <a:gd name="f921" fmla="*/ f705 1 f337"/>
              <a:gd name="f922" fmla="*/ f706 1 f337"/>
              <a:gd name="f923" fmla="*/ f707 1 f336"/>
              <a:gd name="f924" fmla="*/ f708 1 f337"/>
              <a:gd name="f925" fmla="*/ f709 1 f336"/>
              <a:gd name="f926" fmla="*/ f710 1 f337"/>
              <a:gd name="f927" fmla="*/ f711 1 f337"/>
              <a:gd name="f928" fmla="*/ f712 1 f337"/>
              <a:gd name="f929" fmla="*/ f713 1 f336"/>
              <a:gd name="f930" fmla="*/ f714 1 f336"/>
              <a:gd name="f931" fmla="*/ f715 1 f337"/>
              <a:gd name="f932" fmla="*/ f716 1 f336"/>
              <a:gd name="f933" fmla="*/ f717 1 f337"/>
              <a:gd name="f934" fmla="*/ f718 1 f336"/>
              <a:gd name="f935" fmla="*/ f719 1 f337"/>
              <a:gd name="f936" fmla="*/ f720 1 f337"/>
              <a:gd name="f937" fmla="*/ f721 1 f337"/>
              <a:gd name="f938" fmla="*/ f722 1 f337"/>
              <a:gd name="f939" fmla="*/ f723 1 f337"/>
              <a:gd name="f940" fmla="*/ f724 1 f337"/>
              <a:gd name="f941" fmla="*/ f725 1 f336"/>
              <a:gd name="f942" fmla="*/ f726 1 f337"/>
              <a:gd name="f943" fmla="*/ f727 1 f336"/>
              <a:gd name="f944" fmla="*/ f728 1 f337"/>
              <a:gd name="f945" fmla="*/ f729 1 f336"/>
              <a:gd name="f946" fmla="*/ f730 1 f337"/>
              <a:gd name="f947" fmla="*/ f731 1 f336"/>
              <a:gd name="f948" fmla="*/ f732 1 f337"/>
              <a:gd name="f949" fmla="*/ f733 1 f337"/>
              <a:gd name="f950" fmla="*/ f734 1 f336"/>
              <a:gd name="f951" fmla="*/ f735 1 f337"/>
              <a:gd name="f952" fmla="*/ f736 1 f337"/>
              <a:gd name="f953" fmla="*/ f737 1 f336"/>
              <a:gd name="f954" fmla="*/ f738 1 f337"/>
              <a:gd name="f955" fmla="*/ f739 1 f336"/>
              <a:gd name="f956" fmla="*/ f740 1 f337"/>
              <a:gd name="f957" fmla="*/ f741 1 f337"/>
              <a:gd name="f958" fmla="*/ f742 1 f336"/>
              <a:gd name="f959" fmla="*/ f743 1 f337"/>
              <a:gd name="f960" fmla="*/ f744 1 f336"/>
              <a:gd name="f961" fmla="*/ f745 1 f337"/>
              <a:gd name="f962" fmla="*/ f746 1 f337"/>
              <a:gd name="f963" fmla="*/ f747 1 f337"/>
              <a:gd name="f964" fmla="*/ f748 1 f337"/>
              <a:gd name="f965" fmla="*/ f749 1 f337"/>
              <a:gd name="f966" fmla="*/ f750 1 f336"/>
              <a:gd name="f967" fmla="*/ f751 1 f336"/>
              <a:gd name="f968" fmla="*/ f752 1 f337"/>
              <a:gd name="f969" fmla="*/ f753 1 f336"/>
              <a:gd name="f970" fmla="*/ f754 1 f337"/>
              <a:gd name="f971" fmla="*/ f755 1 f337"/>
              <a:gd name="f972" fmla="*/ f756 1 f336"/>
              <a:gd name="f973" fmla="*/ f757 1 f337"/>
              <a:gd name="f974" fmla="*/ f758 1 f337"/>
              <a:gd name="f975" fmla="*/ f759 1 f337"/>
              <a:gd name="f976" fmla="*/ f760 1 f337"/>
              <a:gd name="f977" fmla="*/ f761 1 f337"/>
              <a:gd name="f978" fmla="*/ f762 1 f337"/>
              <a:gd name="f979" fmla="*/ f763 f327 1"/>
              <a:gd name="f980" fmla="*/ f764 f327 1"/>
              <a:gd name="f981" fmla="*/ f766 f328 1"/>
              <a:gd name="f982" fmla="*/ f765 f328 1"/>
              <a:gd name="f983" fmla="*/ f767 f327 1"/>
              <a:gd name="f984" fmla="*/ f768 f328 1"/>
              <a:gd name="f985" fmla="*/ f769 f327 1"/>
              <a:gd name="f986" fmla="*/ f770 f328 1"/>
              <a:gd name="f987" fmla="*/ f771 f327 1"/>
              <a:gd name="f988" fmla="*/ f772 f328 1"/>
              <a:gd name="f989" fmla="*/ f773 f327 1"/>
              <a:gd name="f990" fmla="*/ f774 f328 1"/>
              <a:gd name="f991" fmla="*/ f775 f328 1"/>
              <a:gd name="f992" fmla="*/ f776 f328 1"/>
              <a:gd name="f993" fmla="*/ f777 f328 1"/>
              <a:gd name="f994" fmla="*/ f778 f327 1"/>
              <a:gd name="f995" fmla="*/ f779 f327 1"/>
              <a:gd name="f996" fmla="*/ f780 f328 1"/>
              <a:gd name="f997" fmla="*/ f781 f327 1"/>
              <a:gd name="f998" fmla="*/ f782 f328 1"/>
              <a:gd name="f999" fmla="*/ f783 f327 1"/>
              <a:gd name="f1000" fmla="*/ f784 f328 1"/>
              <a:gd name="f1001" fmla="*/ f785 f327 1"/>
              <a:gd name="f1002" fmla="*/ f786 f328 1"/>
              <a:gd name="f1003" fmla="*/ f787 f327 1"/>
              <a:gd name="f1004" fmla="*/ f788 f327 1"/>
              <a:gd name="f1005" fmla="*/ f789 f327 1"/>
              <a:gd name="f1006" fmla="*/ f790 f328 1"/>
              <a:gd name="f1007" fmla="*/ f791 f328 1"/>
              <a:gd name="f1008" fmla="*/ f792 f327 1"/>
              <a:gd name="f1009" fmla="*/ f793 f328 1"/>
              <a:gd name="f1010" fmla="*/ f794 f328 1"/>
              <a:gd name="f1011" fmla="*/ f795 f327 1"/>
              <a:gd name="f1012" fmla="*/ f796 f328 1"/>
              <a:gd name="f1013" fmla="*/ f797 f327 1"/>
              <a:gd name="f1014" fmla="*/ f798 f328 1"/>
              <a:gd name="f1015" fmla="*/ f799 f327 1"/>
              <a:gd name="f1016" fmla="*/ f800 f328 1"/>
              <a:gd name="f1017" fmla="*/ f801 f327 1"/>
              <a:gd name="f1018" fmla="*/ f802 f327 1"/>
              <a:gd name="f1019" fmla="*/ f803 f328 1"/>
              <a:gd name="f1020" fmla="*/ f804 f327 1"/>
              <a:gd name="f1021" fmla="*/ f805 f328 1"/>
              <a:gd name="f1022" fmla="*/ f806 f328 1"/>
              <a:gd name="f1023" fmla="*/ f807 f328 1"/>
              <a:gd name="f1024" fmla="*/ f808 f327 1"/>
              <a:gd name="f1025" fmla="*/ f809 f328 1"/>
              <a:gd name="f1026" fmla="*/ f810 f327 1"/>
              <a:gd name="f1027" fmla="*/ f811 f327 1"/>
              <a:gd name="f1028" fmla="*/ f812 f327 1"/>
              <a:gd name="f1029" fmla="*/ f813 f328 1"/>
              <a:gd name="f1030" fmla="*/ f814 f327 1"/>
              <a:gd name="f1031" fmla="*/ f815 f328 1"/>
              <a:gd name="f1032" fmla="*/ f816 f327 1"/>
              <a:gd name="f1033" fmla="*/ f817 f328 1"/>
              <a:gd name="f1034" fmla="*/ f818 f327 1"/>
              <a:gd name="f1035" fmla="*/ f819 f328 1"/>
              <a:gd name="f1036" fmla="*/ f820 f327 1"/>
              <a:gd name="f1037" fmla="*/ f821 f328 1"/>
              <a:gd name="f1038" fmla="*/ f822 f328 1"/>
              <a:gd name="f1039" fmla="*/ f823 f327 1"/>
              <a:gd name="f1040" fmla="*/ f824 f328 1"/>
              <a:gd name="f1041" fmla="*/ f825 f327 1"/>
              <a:gd name="f1042" fmla="*/ f826 f327 1"/>
              <a:gd name="f1043" fmla="*/ f827 f327 1"/>
              <a:gd name="f1044" fmla="*/ f828 f327 1"/>
              <a:gd name="f1045" fmla="*/ f829 f328 1"/>
              <a:gd name="f1046" fmla="*/ f830 f327 1"/>
              <a:gd name="f1047" fmla="*/ f831 f328 1"/>
              <a:gd name="f1048" fmla="*/ f832 f327 1"/>
              <a:gd name="f1049" fmla="*/ f833 f327 1"/>
              <a:gd name="f1050" fmla="*/ f834 f328 1"/>
              <a:gd name="f1051" fmla="*/ f835 f327 1"/>
              <a:gd name="f1052" fmla="*/ f836 f328 1"/>
              <a:gd name="f1053" fmla="*/ f837 f327 1"/>
              <a:gd name="f1054" fmla="*/ f838 f328 1"/>
              <a:gd name="f1055" fmla="*/ f839 f328 1"/>
              <a:gd name="f1056" fmla="*/ f840 f328 1"/>
              <a:gd name="f1057" fmla="*/ f841 f327 1"/>
              <a:gd name="f1058" fmla="*/ f842 f328 1"/>
              <a:gd name="f1059" fmla="*/ f843 f327 1"/>
              <a:gd name="f1060" fmla="*/ f844 f327 1"/>
              <a:gd name="f1061" fmla="*/ f845 f327 1"/>
              <a:gd name="f1062" fmla="*/ f846 f328 1"/>
              <a:gd name="f1063" fmla="*/ f847 f327 1"/>
              <a:gd name="f1064" fmla="*/ f848 f328 1"/>
              <a:gd name="f1065" fmla="*/ f849 f327 1"/>
              <a:gd name="f1066" fmla="*/ f850 f328 1"/>
              <a:gd name="f1067" fmla="*/ f851 f327 1"/>
              <a:gd name="f1068" fmla="*/ f852 f328 1"/>
              <a:gd name="f1069" fmla="*/ f853 f327 1"/>
              <a:gd name="f1070" fmla="*/ f854 f328 1"/>
              <a:gd name="f1071" fmla="*/ f855 f327 1"/>
              <a:gd name="f1072" fmla="*/ f856 f328 1"/>
              <a:gd name="f1073" fmla="*/ f857 f328 1"/>
              <a:gd name="f1074" fmla="*/ f858 f327 1"/>
              <a:gd name="f1075" fmla="*/ f859 f328 1"/>
              <a:gd name="f1076" fmla="*/ f860 f327 1"/>
              <a:gd name="f1077" fmla="*/ f861 f328 1"/>
              <a:gd name="f1078" fmla="*/ f862 f327 1"/>
              <a:gd name="f1079" fmla="*/ f863 f327 1"/>
              <a:gd name="f1080" fmla="*/ f864 f327 1"/>
              <a:gd name="f1081" fmla="*/ f865 f328 1"/>
              <a:gd name="f1082" fmla="*/ f866 f328 1"/>
              <a:gd name="f1083" fmla="*/ f867 f328 1"/>
              <a:gd name="f1084" fmla="*/ f868 f327 1"/>
              <a:gd name="f1085" fmla="*/ f869 f328 1"/>
              <a:gd name="f1086" fmla="*/ f870 f327 1"/>
              <a:gd name="f1087" fmla="*/ f871 f328 1"/>
              <a:gd name="f1088" fmla="*/ f872 f327 1"/>
              <a:gd name="f1089" fmla="*/ f873 f328 1"/>
              <a:gd name="f1090" fmla="*/ f874 f327 1"/>
              <a:gd name="f1091" fmla="*/ f875 f328 1"/>
              <a:gd name="f1092" fmla="*/ f876 f327 1"/>
              <a:gd name="f1093" fmla="*/ f877 f328 1"/>
              <a:gd name="f1094" fmla="*/ f878 f328 1"/>
              <a:gd name="f1095" fmla="*/ f879 f327 1"/>
              <a:gd name="f1096" fmla="*/ f880 f328 1"/>
              <a:gd name="f1097" fmla="*/ f881 f327 1"/>
              <a:gd name="f1098" fmla="*/ f882 f327 1"/>
              <a:gd name="f1099" fmla="*/ f883 f327 1"/>
              <a:gd name="f1100" fmla="*/ f884 f327 1"/>
              <a:gd name="f1101" fmla="*/ f885 f328 1"/>
              <a:gd name="f1102" fmla="*/ f886 f327 1"/>
              <a:gd name="f1103" fmla="*/ f887 f328 1"/>
              <a:gd name="f1104" fmla="*/ f888 f327 1"/>
              <a:gd name="f1105" fmla="*/ f889 f328 1"/>
              <a:gd name="f1106" fmla="*/ f890 f328 1"/>
              <a:gd name="f1107" fmla="*/ f891 f328 1"/>
              <a:gd name="f1108" fmla="*/ f892 f327 1"/>
              <a:gd name="f1109" fmla="*/ f893 f328 1"/>
              <a:gd name="f1110" fmla="*/ f894 f327 1"/>
              <a:gd name="f1111" fmla="*/ f895 f327 1"/>
              <a:gd name="f1112" fmla="*/ f896 f327 1"/>
              <a:gd name="f1113" fmla="*/ f897 f327 1"/>
              <a:gd name="f1114" fmla="*/ f898 f327 1"/>
              <a:gd name="f1115" fmla="*/ f899 f327 1"/>
              <a:gd name="f1116" fmla="*/ f900 f327 1"/>
              <a:gd name="f1117" fmla="*/ f901 f328 1"/>
              <a:gd name="f1118" fmla="*/ f902 f327 1"/>
              <a:gd name="f1119" fmla="*/ f903 f327 1"/>
              <a:gd name="f1120" fmla="*/ f904 f328 1"/>
              <a:gd name="f1121" fmla="*/ f905 f328 1"/>
              <a:gd name="f1122" fmla="*/ f906 f328 1"/>
              <a:gd name="f1123" fmla="*/ f907 f328 1"/>
              <a:gd name="f1124" fmla="*/ f908 f328 1"/>
              <a:gd name="f1125" fmla="*/ f909 f328 1"/>
              <a:gd name="f1126" fmla="*/ f910 f328 1"/>
              <a:gd name="f1127" fmla="*/ f911 f327 1"/>
              <a:gd name="f1128" fmla="*/ f912 f328 1"/>
              <a:gd name="f1129" fmla="*/ f913 f328 1"/>
              <a:gd name="f1130" fmla="*/ f914 f328 1"/>
              <a:gd name="f1131" fmla="*/ f915 f328 1"/>
              <a:gd name="f1132" fmla="*/ f916 f328 1"/>
              <a:gd name="f1133" fmla="*/ f917 f328 1"/>
              <a:gd name="f1134" fmla="*/ f918 f327 1"/>
              <a:gd name="f1135" fmla="*/ f919 f328 1"/>
              <a:gd name="f1136" fmla="*/ f920 f327 1"/>
              <a:gd name="f1137" fmla="*/ f921 f328 1"/>
              <a:gd name="f1138" fmla="*/ f922 f328 1"/>
              <a:gd name="f1139" fmla="*/ f923 f327 1"/>
              <a:gd name="f1140" fmla="*/ f924 f328 1"/>
              <a:gd name="f1141" fmla="*/ f925 f327 1"/>
              <a:gd name="f1142" fmla="*/ f926 f328 1"/>
              <a:gd name="f1143" fmla="*/ f927 f328 1"/>
              <a:gd name="f1144" fmla="*/ f928 f328 1"/>
              <a:gd name="f1145" fmla="*/ f929 f327 1"/>
              <a:gd name="f1146" fmla="*/ f930 f327 1"/>
              <a:gd name="f1147" fmla="*/ f931 f328 1"/>
              <a:gd name="f1148" fmla="*/ f932 f327 1"/>
              <a:gd name="f1149" fmla="*/ f933 f328 1"/>
              <a:gd name="f1150" fmla="*/ f934 f327 1"/>
              <a:gd name="f1151" fmla="*/ f935 f328 1"/>
              <a:gd name="f1152" fmla="*/ f936 f328 1"/>
              <a:gd name="f1153" fmla="*/ f937 f328 1"/>
              <a:gd name="f1154" fmla="*/ f938 f328 1"/>
              <a:gd name="f1155" fmla="*/ f939 f328 1"/>
              <a:gd name="f1156" fmla="*/ f940 f328 1"/>
              <a:gd name="f1157" fmla="*/ f941 f327 1"/>
              <a:gd name="f1158" fmla="*/ f942 f328 1"/>
              <a:gd name="f1159" fmla="*/ f943 f327 1"/>
              <a:gd name="f1160" fmla="*/ f944 f328 1"/>
              <a:gd name="f1161" fmla="*/ f945 f327 1"/>
              <a:gd name="f1162" fmla="*/ f946 f328 1"/>
              <a:gd name="f1163" fmla="*/ f947 f327 1"/>
              <a:gd name="f1164" fmla="*/ f948 f328 1"/>
              <a:gd name="f1165" fmla="*/ f949 f328 1"/>
              <a:gd name="f1166" fmla="*/ f950 f327 1"/>
              <a:gd name="f1167" fmla="*/ f951 f328 1"/>
              <a:gd name="f1168" fmla="*/ f952 f328 1"/>
              <a:gd name="f1169" fmla="*/ f953 f327 1"/>
              <a:gd name="f1170" fmla="*/ f954 f328 1"/>
              <a:gd name="f1171" fmla="*/ f955 f327 1"/>
              <a:gd name="f1172" fmla="*/ f956 f328 1"/>
              <a:gd name="f1173" fmla="*/ f957 f328 1"/>
              <a:gd name="f1174" fmla="*/ f958 f327 1"/>
              <a:gd name="f1175" fmla="*/ f959 f328 1"/>
              <a:gd name="f1176" fmla="*/ f960 f327 1"/>
              <a:gd name="f1177" fmla="*/ f961 f328 1"/>
              <a:gd name="f1178" fmla="*/ f962 f328 1"/>
              <a:gd name="f1179" fmla="*/ f963 f328 1"/>
              <a:gd name="f1180" fmla="*/ f964 f328 1"/>
              <a:gd name="f1181" fmla="*/ f965 f328 1"/>
              <a:gd name="f1182" fmla="*/ f966 f327 1"/>
              <a:gd name="f1183" fmla="*/ f967 f327 1"/>
              <a:gd name="f1184" fmla="*/ f968 f328 1"/>
              <a:gd name="f1185" fmla="*/ f969 f327 1"/>
              <a:gd name="f1186" fmla="*/ f970 f328 1"/>
              <a:gd name="f1187" fmla="*/ f971 f328 1"/>
              <a:gd name="f1188" fmla="*/ f972 f327 1"/>
              <a:gd name="f1189" fmla="*/ f973 f328 1"/>
              <a:gd name="f1190" fmla="*/ f974 f328 1"/>
              <a:gd name="f1191" fmla="*/ f975 f328 1"/>
              <a:gd name="f1192" fmla="*/ f976 f328 1"/>
              <a:gd name="f1193" fmla="*/ f977 f328 1"/>
              <a:gd name="f1194" fmla="*/ f978 f328 1"/>
            </a:gdLst>
            <a:ahLst/>
            <a:cxnLst>
              <a:cxn ang="3cd4">
                <a:pos x="hc" y="t"/>
              </a:cxn>
              <a:cxn ang="0">
                <a:pos x="r" y="vc"/>
              </a:cxn>
              <a:cxn ang="cd4">
                <a:pos x="hc" y="b"/>
              </a:cxn>
              <a:cxn ang="cd2">
                <a:pos x="l" y="vc"/>
              </a:cxn>
              <a:cxn ang="f550">
                <a:pos x="f983" y="f984"/>
              </a:cxn>
              <a:cxn ang="f550">
                <a:pos x="f985" y="f986"/>
              </a:cxn>
              <a:cxn ang="f550">
                <a:pos x="f987" y="f988"/>
              </a:cxn>
              <a:cxn ang="f550">
                <a:pos x="f989" y="f990"/>
              </a:cxn>
              <a:cxn ang="f550">
                <a:pos x="f989" y="f991"/>
              </a:cxn>
              <a:cxn ang="f550">
                <a:pos x="f987" y="f992"/>
              </a:cxn>
              <a:cxn ang="f550">
                <a:pos x="f985" y="f993"/>
              </a:cxn>
              <a:cxn ang="f550">
                <a:pos x="f994" y="f993"/>
              </a:cxn>
              <a:cxn ang="f550">
                <a:pos x="f995" y="f996"/>
              </a:cxn>
              <a:cxn ang="f550">
                <a:pos x="f997" y="f998"/>
              </a:cxn>
              <a:cxn ang="f550">
                <a:pos x="f999" y="f1000"/>
              </a:cxn>
              <a:cxn ang="f550">
                <a:pos x="f1001" y="f1002"/>
              </a:cxn>
              <a:cxn ang="f550">
                <a:pos x="f1001" y="f990"/>
              </a:cxn>
              <a:cxn ang="f550">
                <a:pos x="f1003" y="f988"/>
              </a:cxn>
              <a:cxn ang="f550">
                <a:pos x="f1004" y="f986"/>
              </a:cxn>
              <a:cxn ang="f550">
                <a:pos x="f983" y="f984"/>
              </a:cxn>
              <a:cxn ang="f550">
                <a:pos x="f1005" y="f1006"/>
              </a:cxn>
              <a:cxn ang="f550">
                <a:pos x="f983" y="f1007"/>
              </a:cxn>
              <a:cxn ang="f550">
                <a:pos x="f1008" y="f1006"/>
              </a:cxn>
              <a:cxn ang="f550">
                <a:pos x="f1008" y="f1009"/>
              </a:cxn>
              <a:cxn ang="f550">
                <a:pos x="f983" y="f1010"/>
              </a:cxn>
              <a:cxn ang="f550">
                <a:pos x="f1005" y="f1009"/>
              </a:cxn>
              <a:cxn ang="f550">
                <a:pos x="f1005" y="f1006"/>
              </a:cxn>
              <a:cxn ang="f550">
                <a:pos x="f1011" y="f1012"/>
              </a:cxn>
              <a:cxn ang="f550">
                <a:pos x="f1013" y="f1014"/>
              </a:cxn>
              <a:cxn ang="f550">
                <a:pos x="f1015" y="f1016"/>
              </a:cxn>
              <a:cxn ang="f550">
                <a:pos x="f1017" y="f1016"/>
              </a:cxn>
              <a:cxn ang="f550">
                <a:pos x="f1018" y="f1019"/>
              </a:cxn>
              <a:cxn ang="f550">
                <a:pos x="f1020" y="f1021"/>
              </a:cxn>
              <a:cxn ang="f550">
                <a:pos x="f1020" y="f1022"/>
              </a:cxn>
              <a:cxn ang="f550">
                <a:pos x="f1018" y="f1023"/>
              </a:cxn>
              <a:cxn ang="f550">
                <a:pos x="f1024" y="f1025"/>
              </a:cxn>
              <a:cxn ang="f550">
                <a:pos x="f1026" y="f1025"/>
              </a:cxn>
              <a:cxn ang="f550">
                <a:pos x="f1027" y="f1023"/>
              </a:cxn>
              <a:cxn ang="f550">
                <a:pos x="f1028" y="f1022"/>
              </a:cxn>
              <a:cxn ang="f550">
                <a:pos x="f1028" y="f1029"/>
              </a:cxn>
              <a:cxn ang="f550">
                <a:pos x="f1030" y="f1031"/>
              </a:cxn>
              <a:cxn ang="f550">
                <a:pos x="f1011" y="f1012"/>
              </a:cxn>
              <a:cxn ang="f550">
                <a:pos x="f1032" y="f1033"/>
              </a:cxn>
              <a:cxn ang="f550">
                <a:pos x="f1034" y="f1035"/>
              </a:cxn>
              <a:cxn ang="f550">
                <a:pos x="f1036" y="f1033"/>
              </a:cxn>
              <a:cxn ang="f550">
                <a:pos x="f1036" y="f1037"/>
              </a:cxn>
              <a:cxn ang="f550">
                <a:pos x="f1034" y="f1038"/>
              </a:cxn>
              <a:cxn ang="f550">
                <a:pos x="f1032" y="f1037"/>
              </a:cxn>
              <a:cxn ang="f550">
                <a:pos x="f1032" y="f1033"/>
              </a:cxn>
              <a:cxn ang="f550">
                <a:pos x="f1039" y="f1040"/>
              </a:cxn>
              <a:cxn ang="f550">
                <a:pos x="f1041" y="f1016"/>
              </a:cxn>
              <a:cxn ang="f550">
                <a:pos x="f1042" y="f1019"/>
              </a:cxn>
              <a:cxn ang="f550">
                <a:pos x="f1043" y="f1021"/>
              </a:cxn>
              <a:cxn ang="f550">
                <a:pos x="f1043" y="f1022"/>
              </a:cxn>
              <a:cxn ang="f550">
                <a:pos x="f1042" y="f1023"/>
              </a:cxn>
              <a:cxn ang="f550">
                <a:pos x="f1044" y="f1045"/>
              </a:cxn>
              <a:cxn ang="f550">
                <a:pos x="f1046" y="f1047"/>
              </a:cxn>
              <a:cxn ang="f550">
                <a:pos x="f1048" y="f1047"/>
              </a:cxn>
              <a:cxn ang="f550">
                <a:pos x="f1049" y="f1050"/>
              </a:cxn>
              <a:cxn ang="f550">
                <a:pos x="f1051" y="f1052"/>
              </a:cxn>
              <a:cxn ang="f550">
                <a:pos x="f1053" y="f1054"/>
              </a:cxn>
              <a:cxn ang="f550">
                <a:pos x="f1053" y="f1055"/>
              </a:cxn>
              <a:cxn ang="f550">
                <a:pos x="f1051" y="f1056"/>
              </a:cxn>
              <a:cxn ang="f550">
                <a:pos x="f1057" y="f1058"/>
              </a:cxn>
              <a:cxn ang="f550">
                <a:pos x="f1039" y="f1040"/>
              </a:cxn>
              <a:cxn ang="f550">
                <a:pos x="f1059" y="f1033"/>
              </a:cxn>
              <a:cxn ang="f550">
                <a:pos x="f1039" y="f1035"/>
              </a:cxn>
              <a:cxn ang="f550">
                <a:pos x="f1060" y="f1033"/>
              </a:cxn>
              <a:cxn ang="f550">
                <a:pos x="f1060" y="f1037"/>
              </a:cxn>
              <a:cxn ang="f550">
                <a:pos x="f1039" y="f1038"/>
              </a:cxn>
              <a:cxn ang="f550">
                <a:pos x="f1059" y="f1037"/>
              </a:cxn>
              <a:cxn ang="f550">
                <a:pos x="f1059" y="f1033"/>
              </a:cxn>
              <a:cxn ang="f550">
                <a:pos x="f1061" y="f1062"/>
              </a:cxn>
              <a:cxn ang="f550">
                <a:pos x="f1063" y="f1064"/>
              </a:cxn>
              <a:cxn ang="f550">
                <a:pos x="f1065" y="f1066"/>
              </a:cxn>
              <a:cxn ang="f550">
                <a:pos x="f1067" y="f1068"/>
              </a:cxn>
              <a:cxn ang="f550">
                <a:pos x="f1069" y="f1070"/>
              </a:cxn>
              <a:cxn ang="f550">
                <a:pos x="f1071" y="f1072"/>
              </a:cxn>
              <a:cxn ang="f550">
                <a:pos x="f1071" y="f1073"/>
              </a:cxn>
              <a:cxn ang="f550">
                <a:pos x="f1074" y="f1075"/>
              </a:cxn>
              <a:cxn ang="f550">
                <a:pos x="f1076" y="f1077"/>
              </a:cxn>
              <a:cxn ang="f550">
                <a:pos x="f1078" y="f1077"/>
              </a:cxn>
              <a:cxn ang="f550">
                <a:pos x="f1079" y="f1075"/>
              </a:cxn>
              <a:cxn ang="f550">
                <a:pos x="f1080" y="f1073"/>
              </a:cxn>
              <a:cxn ang="f550">
                <a:pos x="f1080" y="f1081"/>
              </a:cxn>
              <a:cxn ang="f550">
                <a:pos x="f1079" y="f1082"/>
              </a:cxn>
              <a:cxn ang="f550">
                <a:pos x="f1078" y="f1083"/>
              </a:cxn>
              <a:cxn ang="f550">
                <a:pos x="f1076" y="f1083"/>
              </a:cxn>
              <a:cxn ang="f550">
                <a:pos x="f1084" y="f1085"/>
              </a:cxn>
              <a:cxn ang="f550">
                <a:pos x="f1086" y="f1087"/>
              </a:cxn>
              <a:cxn ang="f550">
                <a:pos x="f1061" y="f1062"/>
              </a:cxn>
              <a:cxn ang="f550">
                <a:pos x="f1088" y="f1089"/>
              </a:cxn>
              <a:cxn ang="f550">
                <a:pos x="f1090" y="f1091"/>
              </a:cxn>
              <a:cxn ang="f550">
                <a:pos x="f1092" y="f1089"/>
              </a:cxn>
              <a:cxn ang="f550">
                <a:pos x="f1092" y="f1093"/>
              </a:cxn>
              <a:cxn ang="f550">
                <a:pos x="f1090" y="f1094"/>
              </a:cxn>
              <a:cxn ang="f550">
                <a:pos x="f1088" y="f1093"/>
              </a:cxn>
              <a:cxn ang="f550">
                <a:pos x="f1088" y="f1089"/>
              </a:cxn>
              <a:cxn ang="f550">
                <a:pos x="f1095" y="f1096"/>
              </a:cxn>
              <a:cxn ang="f550">
                <a:pos x="f1097" y="f1083"/>
              </a:cxn>
              <a:cxn ang="f550">
                <a:pos x="f1098" y="f1082"/>
              </a:cxn>
              <a:cxn ang="f550">
                <a:pos x="f1099" y="f1081"/>
              </a:cxn>
              <a:cxn ang="f550">
                <a:pos x="f1099" y="f1073"/>
              </a:cxn>
              <a:cxn ang="f550">
                <a:pos x="f1098" y="f1075"/>
              </a:cxn>
              <a:cxn ang="f550">
                <a:pos x="f1100" y="f1101"/>
              </a:cxn>
              <a:cxn ang="f550">
                <a:pos x="f1102" y="f1103"/>
              </a:cxn>
              <a:cxn ang="f550">
                <a:pos x="f1104" y="f1105"/>
              </a:cxn>
              <a:cxn ang="f550">
                <a:pos x="f1065" y="f1106"/>
              </a:cxn>
              <a:cxn ang="f550">
                <a:pos x="f1067" y="f1107"/>
              </a:cxn>
              <a:cxn ang="f550">
                <a:pos x="f1108" y="f1109"/>
              </a:cxn>
              <a:cxn ang="f550">
                <a:pos x="f1110" y="f1101"/>
              </a:cxn>
              <a:cxn ang="f550">
                <a:pos x="f1111" y="f1075"/>
              </a:cxn>
              <a:cxn ang="f550">
                <a:pos x="f1112" y="f1073"/>
              </a:cxn>
              <a:cxn ang="f550">
                <a:pos x="f1112" y="f1081"/>
              </a:cxn>
              <a:cxn ang="f550">
                <a:pos x="f1111" y="f1082"/>
              </a:cxn>
              <a:cxn ang="f550">
                <a:pos x="f1113" y="f1083"/>
              </a:cxn>
              <a:cxn ang="f550">
                <a:pos x="f1095" y="f1096"/>
              </a:cxn>
              <a:cxn ang="f550">
                <a:pos x="f1114" y="f1089"/>
              </a:cxn>
              <a:cxn ang="f550">
                <a:pos x="f1095" y="f1091"/>
              </a:cxn>
              <a:cxn ang="f550">
                <a:pos x="f1115" y="f1089"/>
              </a:cxn>
              <a:cxn ang="f550">
                <a:pos x="f1115" y="f1093"/>
              </a:cxn>
              <a:cxn ang="f550">
                <a:pos x="f1095" y="f1094"/>
              </a:cxn>
              <a:cxn ang="f550">
                <a:pos x="f1114" y="f1093"/>
              </a:cxn>
              <a:cxn ang="f550">
                <a:pos x="f1114" y="f1089"/>
              </a:cxn>
              <a:cxn ang="f550">
                <a:pos x="f1116" y="f1117"/>
              </a:cxn>
              <a:cxn ang="f550">
                <a:pos x="f1118" y="f1117"/>
              </a:cxn>
              <a:cxn ang="f550">
                <a:pos x="f1119" y="f1120"/>
              </a:cxn>
              <a:cxn ang="f550">
                <a:pos x="f1018" y="f1121"/>
              </a:cxn>
              <a:cxn ang="f550">
                <a:pos x="f1020" y="f1122"/>
              </a:cxn>
              <a:cxn ang="f550">
                <a:pos x="f1020" y="f1123"/>
              </a:cxn>
              <a:cxn ang="f550">
                <a:pos x="f1018" y="f1124"/>
              </a:cxn>
              <a:cxn ang="f550">
                <a:pos x="f1024" y="f1125"/>
              </a:cxn>
              <a:cxn ang="f550">
                <a:pos x="f1026" y="f1125"/>
              </a:cxn>
              <a:cxn ang="f550">
                <a:pos x="f1027" y="f1126"/>
              </a:cxn>
              <a:cxn ang="f550">
                <a:pos x="f1028" y="f1123"/>
              </a:cxn>
              <a:cxn ang="f550">
                <a:pos x="f1028" y="f1122"/>
              </a:cxn>
              <a:cxn ang="f550">
                <a:pos x="f1027" y="f1121"/>
              </a:cxn>
              <a:cxn ang="f550">
                <a:pos x="f1127" y="f1128"/>
              </a:cxn>
              <a:cxn ang="f550">
                <a:pos x="f1116" y="f1117"/>
              </a:cxn>
              <a:cxn ang="f550">
                <a:pos x="f1032" y="f1129"/>
              </a:cxn>
              <a:cxn ang="f550">
                <a:pos x="f1034" y="f1130"/>
              </a:cxn>
              <a:cxn ang="f550">
                <a:pos x="f1036" y="f1129"/>
              </a:cxn>
              <a:cxn ang="f550">
                <a:pos x="f1036" y="f1131"/>
              </a:cxn>
              <a:cxn ang="f550">
                <a:pos x="f1034" y="f1132"/>
              </a:cxn>
              <a:cxn ang="f550">
                <a:pos x="f1032" y="f1133"/>
              </a:cxn>
              <a:cxn ang="f550">
                <a:pos x="f1032" y="f1129"/>
              </a:cxn>
              <a:cxn ang="f550">
                <a:pos x="f1134" y="f1135"/>
              </a:cxn>
              <a:cxn ang="f550">
                <a:pos x="f1136" y="f1135"/>
              </a:cxn>
              <a:cxn ang="f550">
                <a:pos x="f1136" y="f1109"/>
              </a:cxn>
              <a:cxn ang="f550">
                <a:pos x="f995" y="f1137"/>
              </a:cxn>
              <a:cxn ang="f550">
                <a:pos x="f994" y="f1138"/>
              </a:cxn>
              <a:cxn ang="f550">
                <a:pos x="f985" y="f1138"/>
              </a:cxn>
              <a:cxn ang="f550">
                <a:pos x="f1139" y="f1140"/>
              </a:cxn>
              <a:cxn ang="f550">
                <a:pos x="f1141" y="f1142"/>
              </a:cxn>
              <a:cxn ang="f550">
                <a:pos x="f1141" y="f1122"/>
              </a:cxn>
              <a:cxn ang="f550">
                <a:pos x="f1139" y="f1143"/>
              </a:cxn>
              <a:cxn ang="f550">
                <a:pos x="f985" y="f1144"/>
              </a:cxn>
              <a:cxn ang="f550">
                <a:pos x="f994" y="f1144"/>
              </a:cxn>
              <a:cxn ang="f550">
                <a:pos x="f1145" y="f1143"/>
              </a:cxn>
              <a:cxn ang="f550">
                <a:pos x="f1146" y="f1122"/>
              </a:cxn>
              <a:cxn ang="f550">
                <a:pos x="f1146" y="f1147"/>
              </a:cxn>
              <a:cxn ang="f550">
                <a:pos x="f1148" y="f1149"/>
              </a:cxn>
              <a:cxn ang="f550">
                <a:pos x="f1150" y="f1103"/>
              </a:cxn>
              <a:cxn ang="f550">
                <a:pos x="f1150" y="f1135"/>
              </a:cxn>
              <a:cxn ang="f550">
                <a:pos x="f1134" y="f1135"/>
              </a:cxn>
              <a:cxn ang="f550">
                <a:pos x="f1005" y="f1151"/>
              </a:cxn>
              <a:cxn ang="f550">
                <a:pos x="f1061" y="f1152"/>
              </a:cxn>
              <a:cxn ang="f550">
                <a:pos x="f1008" y="f1151"/>
              </a:cxn>
              <a:cxn ang="f550">
                <a:pos x="f1008" y="f1153"/>
              </a:cxn>
              <a:cxn ang="f550">
                <a:pos x="f1061" y="f1154"/>
              </a:cxn>
              <a:cxn ang="f550">
                <a:pos x="f1005" y="f1153"/>
              </a:cxn>
              <a:cxn ang="f550">
                <a:pos x="f1005" y="f1151"/>
              </a:cxn>
              <a:cxn ang="f550">
                <a:pos x="f1039" y="f1155"/>
              </a:cxn>
              <a:cxn ang="f550">
                <a:pos x="f1041" y="f1156"/>
              </a:cxn>
              <a:cxn ang="f550">
                <a:pos x="f1042" y="f1121"/>
              </a:cxn>
              <a:cxn ang="f550">
                <a:pos x="f1157" y="f1122"/>
              </a:cxn>
              <a:cxn ang="f550">
                <a:pos x="f1157" y="f1158"/>
              </a:cxn>
              <a:cxn ang="f550">
                <a:pos x="f1159" y="f1160"/>
              </a:cxn>
              <a:cxn ang="f550">
                <a:pos x="f1161" y="f1162"/>
              </a:cxn>
              <a:cxn ang="f550">
                <a:pos x="f1163" y="f1164"/>
              </a:cxn>
              <a:cxn ang="f550">
                <a:pos x="f1041" y="f1165"/>
              </a:cxn>
              <a:cxn ang="f550">
                <a:pos x="f1057" y="f1165"/>
              </a:cxn>
              <a:cxn ang="f550">
                <a:pos x="f1051" y="f1126"/>
              </a:cxn>
              <a:cxn ang="f550">
                <a:pos x="f1166" y="f1167"/>
              </a:cxn>
              <a:cxn ang="f550">
                <a:pos x="f1166" y="f1168"/>
              </a:cxn>
              <a:cxn ang="f550">
                <a:pos x="f1169" y="f1170"/>
              </a:cxn>
              <a:cxn ang="f550">
                <a:pos x="f1171" y="f1172"/>
              </a:cxn>
              <a:cxn ang="f550">
                <a:pos x="f1039" y="f1155"/>
              </a:cxn>
              <a:cxn ang="f550">
                <a:pos x="f1059" y="f1129"/>
              </a:cxn>
              <a:cxn ang="f550">
                <a:pos x="f1039" y="f1130"/>
              </a:cxn>
              <a:cxn ang="f550">
                <a:pos x="f1060" y="f1129"/>
              </a:cxn>
              <a:cxn ang="f550">
                <a:pos x="f1060" y="f1133"/>
              </a:cxn>
              <a:cxn ang="f550">
                <a:pos x="f1039" y="f1173"/>
              </a:cxn>
              <a:cxn ang="f550">
                <a:pos x="f1059" y="f1133"/>
              </a:cxn>
              <a:cxn ang="f550">
                <a:pos x="f1059" y="f1129"/>
              </a:cxn>
              <a:cxn ang="f550">
                <a:pos x="f1174" y="f1175"/>
              </a:cxn>
              <a:cxn ang="f550">
                <a:pos x="f1176" y="f1177"/>
              </a:cxn>
              <a:cxn ang="f550">
                <a:pos x="f989" y="f1178"/>
              </a:cxn>
              <a:cxn ang="f550">
                <a:pos x="f989" y="f1179"/>
              </a:cxn>
              <a:cxn ang="f550">
                <a:pos x="f987" y="f1180"/>
              </a:cxn>
              <a:cxn ang="f550">
                <a:pos x="f985" y="f1181"/>
              </a:cxn>
              <a:cxn ang="f550">
                <a:pos x="f994" y="f1181"/>
              </a:cxn>
              <a:cxn ang="f550">
                <a:pos x="f1182" y="f1180"/>
              </a:cxn>
              <a:cxn ang="f550">
                <a:pos x="f1183" y="f1179"/>
              </a:cxn>
              <a:cxn ang="f550">
                <a:pos x="f1183" y="f1184"/>
              </a:cxn>
              <a:cxn ang="f550">
                <a:pos x="f1185" y="f1186"/>
              </a:cxn>
              <a:cxn ang="f550">
                <a:pos x="f994" y="f1187"/>
              </a:cxn>
              <a:cxn ang="f550">
                <a:pos x="f985" y="f1187"/>
              </a:cxn>
              <a:cxn ang="f550">
                <a:pos x="f1188" y="f1189"/>
              </a:cxn>
              <a:cxn ang="f550">
                <a:pos x="f1174" y="f1175"/>
              </a:cxn>
              <a:cxn ang="f550">
                <a:pos x="f1005" y="f1190"/>
              </a:cxn>
              <a:cxn ang="f550">
                <a:pos x="f983" y="f1191"/>
              </a:cxn>
              <a:cxn ang="f550">
                <a:pos x="f1008" y="f1190"/>
              </a:cxn>
              <a:cxn ang="f550">
                <a:pos x="f1008" y="f1192"/>
              </a:cxn>
              <a:cxn ang="f550">
                <a:pos x="f983" y="f1193"/>
              </a:cxn>
              <a:cxn ang="f550">
                <a:pos x="f1005" y="f1194"/>
              </a:cxn>
              <a:cxn ang="f550">
                <a:pos x="f1005" y="f1190"/>
              </a:cxn>
            </a:cxnLst>
            <a:rect l="f979" t="f982" r="f980" b="f981"/>
            <a:pathLst>
              <a:path w="513305" h="584507">
                <a:moveTo>
                  <a:pt x="f8" y="f7"/>
                </a:moveTo>
                <a:cubicBezTo>
                  <a:pt x="f9" y="f7"/>
                  <a:pt x="f10" y="f11"/>
                  <a:pt x="f12" y="f13"/>
                </a:cubicBezTo>
                <a:lnTo>
                  <a:pt x="f14" y="f15"/>
                </a:lnTo>
                <a:cubicBezTo>
                  <a:pt x="f16" y="f17"/>
                  <a:pt x="f18" y="f19"/>
                  <a:pt x="f18" y="f20"/>
                </a:cubicBezTo>
                <a:lnTo>
                  <a:pt x="f18" y="f21"/>
                </a:lnTo>
                <a:cubicBezTo>
                  <a:pt x="f18" y="f22"/>
                  <a:pt x="f16" y="f23"/>
                  <a:pt x="f14" y="f24"/>
                </a:cubicBezTo>
                <a:lnTo>
                  <a:pt x="f12" y="f25"/>
                </a:lnTo>
                <a:cubicBezTo>
                  <a:pt x="f26" y="f27"/>
                  <a:pt x="f28" y="f27"/>
                  <a:pt x="f29" y="f25"/>
                </a:cubicBezTo>
                <a:lnTo>
                  <a:pt x="f30" y="f31"/>
                </a:lnTo>
                <a:lnTo>
                  <a:pt x="f32" y="f33"/>
                </a:lnTo>
                <a:lnTo>
                  <a:pt x="f34" y="f35"/>
                </a:lnTo>
                <a:lnTo>
                  <a:pt x="f36" y="f37"/>
                </a:lnTo>
                <a:lnTo>
                  <a:pt x="f36" y="f20"/>
                </a:lnTo>
                <a:cubicBezTo>
                  <a:pt x="f36" y="f19"/>
                  <a:pt x="f38" y="f39"/>
                  <a:pt x="f40" y="f15"/>
                </a:cubicBezTo>
                <a:lnTo>
                  <a:pt x="f41" y="f13"/>
                </a:lnTo>
                <a:cubicBezTo>
                  <a:pt x="f42" y="f43"/>
                  <a:pt x="f44" y="f7"/>
                  <a:pt x="f8" y="f7"/>
                </a:cubicBezTo>
                <a:close/>
                <a:moveTo>
                  <a:pt x="f45" y="f46"/>
                </a:moveTo>
                <a:lnTo>
                  <a:pt x="f8" y="f47"/>
                </a:lnTo>
                <a:lnTo>
                  <a:pt x="f48" y="f46"/>
                </a:lnTo>
                <a:lnTo>
                  <a:pt x="f48" y="f49"/>
                </a:lnTo>
                <a:lnTo>
                  <a:pt x="f8" y="f50"/>
                </a:lnTo>
                <a:lnTo>
                  <a:pt x="f45" y="f49"/>
                </a:lnTo>
                <a:lnTo>
                  <a:pt x="f45" y="f46"/>
                </a:lnTo>
                <a:close/>
                <a:moveTo>
                  <a:pt x="f51" y="f52"/>
                </a:moveTo>
                <a:lnTo>
                  <a:pt x="f53" y="f54"/>
                </a:lnTo>
                <a:lnTo>
                  <a:pt x="f55" y="f56"/>
                </a:lnTo>
                <a:cubicBezTo>
                  <a:pt x="f57" y="f58"/>
                  <a:pt x="f59" y="f58"/>
                  <a:pt x="f60" y="f56"/>
                </a:cubicBezTo>
                <a:lnTo>
                  <a:pt x="f61" y="f62"/>
                </a:lnTo>
                <a:cubicBezTo>
                  <a:pt x="f63" y="f64"/>
                  <a:pt x="f5" y="f65"/>
                  <a:pt x="f5" y="f66"/>
                </a:cubicBezTo>
                <a:lnTo>
                  <a:pt x="f5" y="f67"/>
                </a:lnTo>
                <a:cubicBezTo>
                  <a:pt x="f5" y="f68"/>
                  <a:pt x="f63" y="f69"/>
                  <a:pt x="f61" y="f70"/>
                </a:cubicBezTo>
                <a:lnTo>
                  <a:pt x="f71" y="f72"/>
                </a:lnTo>
                <a:cubicBezTo>
                  <a:pt x="f73" y="f74"/>
                  <a:pt x="f75" y="f74"/>
                  <a:pt x="f76" y="f72"/>
                </a:cubicBezTo>
                <a:lnTo>
                  <a:pt x="f77" y="f70"/>
                </a:lnTo>
                <a:cubicBezTo>
                  <a:pt x="f78" y="f69"/>
                  <a:pt x="f79" y="f68"/>
                  <a:pt x="f79" y="f67"/>
                </a:cubicBezTo>
                <a:lnTo>
                  <a:pt x="f79" y="f80"/>
                </a:lnTo>
                <a:lnTo>
                  <a:pt x="f81" y="f82"/>
                </a:lnTo>
                <a:lnTo>
                  <a:pt x="f51" y="f52"/>
                </a:lnTo>
                <a:close/>
                <a:moveTo>
                  <a:pt x="f83" y="f84"/>
                </a:moveTo>
                <a:lnTo>
                  <a:pt x="f85" y="f86"/>
                </a:lnTo>
                <a:lnTo>
                  <a:pt x="f87" y="f84"/>
                </a:lnTo>
                <a:lnTo>
                  <a:pt x="f87" y="f88"/>
                </a:lnTo>
                <a:lnTo>
                  <a:pt x="f85" y="f89"/>
                </a:lnTo>
                <a:lnTo>
                  <a:pt x="f83" y="f88"/>
                </a:lnTo>
                <a:lnTo>
                  <a:pt x="f83" y="f84"/>
                </a:lnTo>
                <a:close/>
                <a:moveTo>
                  <a:pt x="f90" y="f91"/>
                </a:moveTo>
                <a:cubicBezTo>
                  <a:pt x="f92" y="f91"/>
                  <a:pt x="f93" y="f94"/>
                  <a:pt x="f95" y="f56"/>
                </a:cubicBezTo>
                <a:lnTo>
                  <a:pt x="f96" y="f62"/>
                </a:lnTo>
                <a:cubicBezTo>
                  <a:pt x="f97" y="f64"/>
                  <a:pt x="f98" y="f65"/>
                  <a:pt x="f98" y="f66"/>
                </a:cubicBezTo>
                <a:lnTo>
                  <a:pt x="f98" y="f67"/>
                </a:lnTo>
                <a:cubicBezTo>
                  <a:pt x="f98" y="f68"/>
                  <a:pt x="f99" y="f69"/>
                  <a:pt x="f96" y="f70"/>
                </a:cubicBezTo>
                <a:lnTo>
                  <a:pt x="f100" y="f101"/>
                </a:lnTo>
                <a:lnTo>
                  <a:pt x="f102" y="f103"/>
                </a:lnTo>
                <a:lnTo>
                  <a:pt x="f104" y="f103"/>
                </a:lnTo>
                <a:lnTo>
                  <a:pt x="f105" y="f106"/>
                </a:lnTo>
                <a:lnTo>
                  <a:pt x="f107" y="f108"/>
                </a:lnTo>
                <a:cubicBezTo>
                  <a:pt x="f109" y="f110"/>
                  <a:pt x="f6" y="f111"/>
                  <a:pt x="f6" y="f112"/>
                </a:cubicBezTo>
                <a:lnTo>
                  <a:pt x="f6" y="f113"/>
                </a:lnTo>
                <a:cubicBezTo>
                  <a:pt x="f6" y="f114"/>
                  <a:pt x="f115" y="f116"/>
                  <a:pt x="f107" y="f117"/>
                </a:cubicBezTo>
                <a:lnTo>
                  <a:pt x="f118" y="f119"/>
                </a:lnTo>
                <a:cubicBezTo>
                  <a:pt x="f120" y="f94"/>
                  <a:pt x="f121" y="f91"/>
                  <a:pt x="f90" y="f91"/>
                </a:cubicBezTo>
                <a:close/>
                <a:moveTo>
                  <a:pt x="f122" y="f84"/>
                </a:moveTo>
                <a:lnTo>
                  <a:pt x="f90" y="f86"/>
                </a:lnTo>
                <a:lnTo>
                  <a:pt x="f123" y="f84"/>
                </a:lnTo>
                <a:lnTo>
                  <a:pt x="f123" y="f88"/>
                </a:lnTo>
                <a:lnTo>
                  <a:pt x="f90" y="f89"/>
                </a:lnTo>
                <a:lnTo>
                  <a:pt x="f122" y="f88"/>
                </a:lnTo>
                <a:lnTo>
                  <a:pt x="f122" y="f84"/>
                </a:lnTo>
                <a:close/>
                <a:moveTo>
                  <a:pt x="f124" y="f125"/>
                </a:moveTo>
                <a:cubicBezTo>
                  <a:pt x="f126" y="f125"/>
                  <a:pt x="f127" y="f128"/>
                  <a:pt x="f129" y="f130"/>
                </a:cubicBezTo>
                <a:lnTo>
                  <a:pt x="f131" y="f132"/>
                </a:lnTo>
                <a:lnTo>
                  <a:pt x="f133" y="f134"/>
                </a:lnTo>
                <a:lnTo>
                  <a:pt x="f135" y="f136"/>
                </a:lnTo>
                <a:lnTo>
                  <a:pt x="f137" y="f138"/>
                </a:lnTo>
                <a:lnTo>
                  <a:pt x="f137" y="f139"/>
                </a:lnTo>
                <a:cubicBezTo>
                  <a:pt x="f137" y="f140"/>
                  <a:pt x="f141" y="f142"/>
                  <a:pt x="f143" y="f144"/>
                </a:cubicBezTo>
                <a:lnTo>
                  <a:pt x="f145" y="f146"/>
                </a:lnTo>
                <a:cubicBezTo>
                  <a:pt x="f147" y="f148"/>
                  <a:pt x="f149" y="f148"/>
                  <a:pt x="f150" y="f146"/>
                </a:cubicBezTo>
                <a:lnTo>
                  <a:pt x="f151" y="f144"/>
                </a:lnTo>
                <a:cubicBezTo>
                  <a:pt x="f152" y="f142"/>
                  <a:pt x="f153" y="f140"/>
                  <a:pt x="f153" y="f139"/>
                </a:cubicBezTo>
                <a:lnTo>
                  <a:pt x="f153" y="f154"/>
                </a:lnTo>
                <a:cubicBezTo>
                  <a:pt x="f153" y="f155"/>
                  <a:pt x="f156" y="f157"/>
                  <a:pt x="f151" y="f158"/>
                </a:cubicBezTo>
                <a:lnTo>
                  <a:pt x="f150" y="f159"/>
                </a:lnTo>
                <a:cubicBezTo>
                  <a:pt x="f149" y="f160"/>
                  <a:pt x="f147" y="f160"/>
                  <a:pt x="f145" y="f159"/>
                </a:cubicBezTo>
                <a:lnTo>
                  <a:pt x="f161" y="f162"/>
                </a:lnTo>
                <a:lnTo>
                  <a:pt x="f163" y="f164"/>
                </a:lnTo>
                <a:cubicBezTo>
                  <a:pt x="f165" y="f166"/>
                  <a:pt x="f167" y="f125"/>
                  <a:pt x="f124" y="f125"/>
                </a:cubicBezTo>
                <a:close/>
                <a:moveTo>
                  <a:pt x="f168" y="f169"/>
                </a:moveTo>
                <a:lnTo>
                  <a:pt x="f170" y="f171"/>
                </a:lnTo>
                <a:lnTo>
                  <a:pt x="f172" y="f169"/>
                </a:lnTo>
                <a:lnTo>
                  <a:pt x="f172" y="f173"/>
                </a:lnTo>
                <a:lnTo>
                  <a:pt x="f170" y="f174"/>
                </a:lnTo>
                <a:lnTo>
                  <a:pt x="f168" y="f173"/>
                </a:lnTo>
                <a:lnTo>
                  <a:pt x="f168" y="f169"/>
                </a:lnTo>
                <a:close/>
                <a:moveTo>
                  <a:pt x="f175" y="f176"/>
                </a:moveTo>
                <a:cubicBezTo>
                  <a:pt x="f177" y="f176"/>
                  <a:pt x="f178" y="f179"/>
                  <a:pt x="f180" y="f159"/>
                </a:cubicBezTo>
                <a:lnTo>
                  <a:pt x="f181" y="f158"/>
                </a:lnTo>
                <a:cubicBezTo>
                  <a:pt x="f182" y="f183"/>
                  <a:pt x="f184" y="f155"/>
                  <a:pt x="f184" y="f154"/>
                </a:cubicBezTo>
                <a:lnTo>
                  <a:pt x="f184" y="f139"/>
                </a:lnTo>
                <a:cubicBezTo>
                  <a:pt x="f184" y="f140"/>
                  <a:pt x="f182" y="f142"/>
                  <a:pt x="f181" y="f144"/>
                </a:cubicBezTo>
                <a:lnTo>
                  <a:pt x="f185" y="f186"/>
                </a:lnTo>
                <a:lnTo>
                  <a:pt x="f187" y="f188"/>
                </a:lnTo>
                <a:cubicBezTo>
                  <a:pt x="f187" y="f189"/>
                  <a:pt x="f190" y="f191"/>
                  <a:pt x="f192" y="f193"/>
                </a:cubicBezTo>
                <a:lnTo>
                  <a:pt x="f131" y="f194"/>
                </a:lnTo>
                <a:lnTo>
                  <a:pt x="f133" y="f195"/>
                </a:lnTo>
                <a:lnTo>
                  <a:pt x="f196" y="f197"/>
                </a:lnTo>
                <a:lnTo>
                  <a:pt x="f198" y="f186"/>
                </a:lnTo>
                <a:lnTo>
                  <a:pt x="f199" y="f144"/>
                </a:lnTo>
                <a:cubicBezTo>
                  <a:pt x="f200" y="f142"/>
                  <a:pt x="f201" y="f140"/>
                  <a:pt x="f201" y="f139"/>
                </a:cubicBezTo>
                <a:lnTo>
                  <a:pt x="f201" y="f154"/>
                </a:lnTo>
                <a:cubicBezTo>
                  <a:pt x="f201" y="f155"/>
                  <a:pt x="f202" y="f157"/>
                  <a:pt x="f199" y="f158"/>
                </a:cubicBezTo>
                <a:lnTo>
                  <a:pt x="f203" y="f159"/>
                </a:lnTo>
                <a:cubicBezTo>
                  <a:pt x="f204" y="f179"/>
                  <a:pt x="f205" y="f176"/>
                  <a:pt x="f175" y="f176"/>
                </a:cubicBezTo>
                <a:close/>
                <a:moveTo>
                  <a:pt x="f206" y="f169"/>
                </a:moveTo>
                <a:lnTo>
                  <a:pt x="f175" y="f171"/>
                </a:lnTo>
                <a:lnTo>
                  <a:pt x="f207" y="f169"/>
                </a:lnTo>
                <a:lnTo>
                  <a:pt x="f207" y="f173"/>
                </a:lnTo>
                <a:lnTo>
                  <a:pt x="f175" y="f174"/>
                </a:lnTo>
                <a:lnTo>
                  <a:pt x="f206" y="f173"/>
                </a:lnTo>
                <a:lnTo>
                  <a:pt x="f206" y="f169"/>
                </a:lnTo>
                <a:close/>
                <a:moveTo>
                  <a:pt x="f208" y="f209"/>
                </a:moveTo>
                <a:lnTo>
                  <a:pt x="f210" y="f209"/>
                </a:lnTo>
                <a:lnTo>
                  <a:pt x="f211" y="f212"/>
                </a:lnTo>
                <a:lnTo>
                  <a:pt x="f61" y="f213"/>
                </a:lnTo>
                <a:cubicBezTo>
                  <a:pt x="f63" y="f214"/>
                  <a:pt x="f5" y="f215"/>
                  <a:pt x="f5" y="f216"/>
                </a:cubicBezTo>
                <a:lnTo>
                  <a:pt x="f5" y="f217"/>
                </a:lnTo>
                <a:cubicBezTo>
                  <a:pt x="f5" y="f218"/>
                  <a:pt x="f63" y="f219"/>
                  <a:pt x="f61" y="f220"/>
                </a:cubicBezTo>
                <a:lnTo>
                  <a:pt x="f71" y="f221"/>
                </a:lnTo>
                <a:cubicBezTo>
                  <a:pt x="f73" y="f222"/>
                  <a:pt x="f75" y="f222"/>
                  <a:pt x="f76" y="f221"/>
                </a:cubicBezTo>
                <a:lnTo>
                  <a:pt x="f77" y="f223"/>
                </a:lnTo>
                <a:cubicBezTo>
                  <a:pt x="f224" y="f225"/>
                  <a:pt x="f79" y="f226"/>
                  <a:pt x="f79" y="f217"/>
                </a:cubicBezTo>
                <a:lnTo>
                  <a:pt x="f79" y="f216"/>
                </a:lnTo>
                <a:cubicBezTo>
                  <a:pt x="f79" y="f227"/>
                  <a:pt x="f224" y="f228"/>
                  <a:pt x="f77" y="f213"/>
                </a:cubicBezTo>
                <a:lnTo>
                  <a:pt x="f229" y="f230"/>
                </a:lnTo>
                <a:lnTo>
                  <a:pt x="f208" y="f209"/>
                </a:lnTo>
                <a:close/>
                <a:moveTo>
                  <a:pt x="f83" y="f231"/>
                </a:moveTo>
                <a:lnTo>
                  <a:pt x="f85" y="f232"/>
                </a:lnTo>
                <a:lnTo>
                  <a:pt x="f87" y="f231"/>
                </a:lnTo>
                <a:lnTo>
                  <a:pt x="f87" y="f233"/>
                </a:lnTo>
                <a:lnTo>
                  <a:pt x="f85" y="f234"/>
                </a:lnTo>
                <a:lnTo>
                  <a:pt x="f83" y="f235"/>
                </a:lnTo>
                <a:lnTo>
                  <a:pt x="f83" y="f231"/>
                </a:lnTo>
                <a:close/>
                <a:moveTo>
                  <a:pt x="f236" y="f237"/>
                </a:moveTo>
                <a:lnTo>
                  <a:pt x="f238" y="f237"/>
                </a:lnTo>
                <a:lnTo>
                  <a:pt x="f238" y="f197"/>
                </a:lnTo>
                <a:lnTo>
                  <a:pt x="f30" y="f239"/>
                </a:lnTo>
                <a:lnTo>
                  <a:pt x="f29" y="f240"/>
                </a:lnTo>
                <a:cubicBezTo>
                  <a:pt x="f28" y="f241"/>
                  <a:pt x="f26" y="f241"/>
                  <a:pt x="f12" y="f240"/>
                </a:cubicBezTo>
                <a:lnTo>
                  <a:pt x="f242" y="f243"/>
                </a:lnTo>
                <a:cubicBezTo>
                  <a:pt x="f244" y="f245"/>
                  <a:pt x="f246" y="f247"/>
                  <a:pt x="f246" y="f248"/>
                </a:cubicBezTo>
                <a:lnTo>
                  <a:pt x="f246" y="f216"/>
                </a:lnTo>
                <a:cubicBezTo>
                  <a:pt x="f246" y="f249"/>
                  <a:pt x="f250" y="f251"/>
                  <a:pt x="f242" y="f252"/>
                </a:cubicBezTo>
                <a:lnTo>
                  <a:pt x="f12" y="f253"/>
                </a:lnTo>
                <a:cubicBezTo>
                  <a:pt x="f26" y="f254"/>
                  <a:pt x="f28" y="f254"/>
                  <a:pt x="f29" y="f253"/>
                </a:cubicBezTo>
                <a:lnTo>
                  <a:pt x="f255" y="f252"/>
                </a:lnTo>
                <a:cubicBezTo>
                  <a:pt x="f256" y="f251"/>
                  <a:pt x="f257" y="f258"/>
                  <a:pt x="f257" y="f216"/>
                </a:cubicBezTo>
                <a:lnTo>
                  <a:pt x="f257" y="f259"/>
                </a:lnTo>
                <a:lnTo>
                  <a:pt x="f260" y="f261"/>
                </a:lnTo>
                <a:cubicBezTo>
                  <a:pt x="f262" y="f263"/>
                  <a:pt x="f264" y="f189"/>
                  <a:pt x="f264" y="f188"/>
                </a:cubicBezTo>
                <a:lnTo>
                  <a:pt x="f264" y="f237"/>
                </a:lnTo>
                <a:lnTo>
                  <a:pt x="f236" y="f237"/>
                </a:lnTo>
                <a:close/>
                <a:moveTo>
                  <a:pt x="f45" y="f265"/>
                </a:moveTo>
                <a:lnTo>
                  <a:pt x="f124" y="f266"/>
                </a:lnTo>
                <a:lnTo>
                  <a:pt x="f48" y="f265"/>
                </a:lnTo>
                <a:lnTo>
                  <a:pt x="f48" y="f267"/>
                </a:lnTo>
                <a:lnTo>
                  <a:pt x="f124" y="f268"/>
                </a:lnTo>
                <a:lnTo>
                  <a:pt x="f45" y="f267"/>
                </a:lnTo>
                <a:lnTo>
                  <a:pt x="f45" y="f265"/>
                </a:lnTo>
                <a:close/>
                <a:moveTo>
                  <a:pt x="f90" y="f269"/>
                </a:moveTo>
                <a:cubicBezTo>
                  <a:pt x="f92" y="f269"/>
                  <a:pt x="f93" y="f270"/>
                  <a:pt x="f95" y="f271"/>
                </a:cubicBezTo>
                <a:lnTo>
                  <a:pt x="f96" y="f213"/>
                </a:lnTo>
                <a:cubicBezTo>
                  <a:pt x="f97" y="f214"/>
                  <a:pt x="f272" y="f215"/>
                  <a:pt x="f272" y="f216"/>
                </a:cubicBezTo>
                <a:lnTo>
                  <a:pt x="f272" y="f273"/>
                </a:lnTo>
                <a:lnTo>
                  <a:pt x="f274" y="f275"/>
                </a:lnTo>
                <a:lnTo>
                  <a:pt x="f276" y="f277"/>
                </a:lnTo>
                <a:lnTo>
                  <a:pt x="f278" y="f279"/>
                </a:lnTo>
                <a:lnTo>
                  <a:pt x="f95" y="f280"/>
                </a:lnTo>
                <a:cubicBezTo>
                  <a:pt x="f281" y="f282"/>
                  <a:pt x="f283" y="f284"/>
                  <a:pt x="f118" y="f280"/>
                </a:cubicBezTo>
                <a:lnTo>
                  <a:pt x="f107" y="f223"/>
                </a:lnTo>
                <a:cubicBezTo>
                  <a:pt x="f285" y="f225"/>
                  <a:pt x="f286" y="f226"/>
                  <a:pt x="f286" y="f287"/>
                </a:cubicBezTo>
                <a:lnTo>
                  <a:pt x="f286" y="f288"/>
                </a:lnTo>
                <a:cubicBezTo>
                  <a:pt x="f286" y="f215"/>
                  <a:pt x="f109" y="f289"/>
                  <a:pt x="f290" y="f291"/>
                </a:cubicBezTo>
                <a:lnTo>
                  <a:pt x="f292" y="f293"/>
                </a:lnTo>
                <a:cubicBezTo>
                  <a:pt x="f120" y="f270"/>
                  <a:pt x="f121" y="f269"/>
                  <a:pt x="f90" y="f269"/>
                </a:cubicBezTo>
                <a:close/>
                <a:moveTo>
                  <a:pt x="f122" y="f231"/>
                </a:moveTo>
                <a:lnTo>
                  <a:pt x="f90" y="f232"/>
                </a:lnTo>
                <a:lnTo>
                  <a:pt x="f123" y="f231"/>
                </a:lnTo>
                <a:lnTo>
                  <a:pt x="f123" y="f235"/>
                </a:lnTo>
                <a:lnTo>
                  <a:pt x="f90" y="f294"/>
                </a:lnTo>
                <a:lnTo>
                  <a:pt x="f122" y="f235"/>
                </a:lnTo>
                <a:lnTo>
                  <a:pt x="f122" y="f231"/>
                </a:lnTo>
                <a:close/>
                <a:moveTo>
                  <a:pt x="f295" y="f296"/>
                </a:moveTo>
                <a:lnTo>
                  <a:pt x="f297" y="f298"/>
                </a:lnTo>
                <a:lnTo>
                  <a:pt x="f18" y="f299"/>
                </a:lnTo>
                <a:lnTo>
                  <a:pt x="f18" y="f300"/>
                </a:lnTo>
                <a:cubicBezTo>
                  <a:pt x="f18" y="f301"/>
                  <a:pt x="f16" y="f302"/>
                  <a:pt x="f14" y="f303"/>
                </a:cubicBezTo>
                <a:lnTo>
                  <a:pt x="f12" y="f304"/>
                </a:lnTo>
                <a:cubicBezTo>
                  <a:pt x="f26" y="f305"/>
                  <a:pt x="f28" y="f306"/>
                  <a:pt x="f29" y="f304"/>
                </a:cubicBezTo>
                <a:lnTo>
                  <a:pt x="f307" y="f303"/>
                </a:lnTo>
                <a:cubicBezTo>
                  <a:pt x="f38" y="f302"/>
                  <a:pt x="f308" y="f301"/>
                  <a:pt x="f308" y="f300"/>
                </a:cubicBezTo>
                <a:lnTo>
                  <a:pt x="f308" y="f309"/>
                </a:lnTo>
                <a:cubicBezTo>
                  <a:pt x="f308" y="f310"/>
                  <a:pt x="f311" y="f312"/>
                  <a:pt x="f313" y="f314"/>
                </a:cubicBezTo>
                <a:lnTo>
                  <a:pt x="f29" y="f315"/>
                </a:lnTo>
                <a:cubicBezTo>
                  <a:pt x="f28" y="f316"/>
                  <a:pt x="f317" y="f318"/>
                  <a:pt x="f12" y="f315"/>
                </a:cubicBezTo>
                <a:lnTo>
                  <a:pt x="f319" y="f320"/>
                </a:lnTo>
                <a:lnTo>
                  <a:pt x="f295" y="f296"/>
                </a:lnTo>
                <a:close/>
                <a:moveTo>
                  <a:pt x="f45" y="f321"/>
                </a:moveTo>
                <a:lnTo>
                  <a:pt x="f8" y="f322"/>
                </a:lnTo>
                <a:lnTo>
                  <a:pt x="f48" y="f321"/>
                </a:lnTo>
                <a:lnTo>
                  <a:pt x="f48" y="f323"/>
                </a:lnTo>
                <a:lnTo>
                  <a:pt x="f8" y="f324"/>
                </a:lnTo>
                <a:lnTo>
                  <a:pt x="f45" y="f325"/>
                </a:lnTo>
                <a:lnTo>
                  <a:pt x="f45" y="f321"/>
                </a:lnTo>
                <a:close/>
              </a:path>
            </a:pathLst>
          </a:custGeom>
          <a:solidFill>
            <a:srgbClr val="8D8D8D"/>
          </a:solidFill>
          <a:ln cap="flat">
            <a:noFill/>
            <a:prstDash val="solid"/>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19" name="Text 4">
            <a:extLst>
              <a:ext uri="{FF2B5EF4-FFF2-40B4-BE49-F238E27FC236}">
                <a16:creationId xmlns:a16="http://schemas.microsoft.com/office/drawing/2014/main" id="{01AF6C10-8A1E-3927-4048-752011C532B1}"/>
              </a:ext>
            </a:extLst>
          </p:cNvPr>
          <p:cNvSpPr txBox="1"/>
          <p:nvPr/>
        </p:nvSpPr>
        <p:spPr>
          <a:xfrm>
            <a:off x="8717532" y="2444008"/>
            <a:ext cx="2063700" cy="220955"/>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575"/>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1200" cap="none" spc="0" normalizeH="0" baseline="0" noProof="0">
                <a:ln>
                  <a:noFill/>
                </a:ln>
                <a:solidFill>
                  <a:srgbClr val="000000"/>
                </a:solidFill>
                <a:effectLst/>
                <a:uLnTx/>
                <a:uFillTx/>
                <a:latin typeface="IBM Plex Sans Light" pitchFamily="34"/>
                <a:ea typeface="IBM Plex Sans Regular" pitchFamily="34"/>
                <a:cs typeface="IBM Plex Sans Regular" pitchFamily="34"/>
              </a:rPr>
              <a:t>Agents</a:t>
            </a:r>
            <a:endParaRPr kumimoji="0" lang="en-US" sz="1600" b="0" i="0" u="none" strike="noStrike" kern="1200" cap="none" spc="0" normalizeH="0" baseline="0" noProof="0">
              <a:ln>
                <a:noFill/>
              </a:ln>
              <a:solidFill>
                <a:srgbClr val="000000"/>
              </a:solidFill>
              <a:effectLst/>
              <a:uLnTx/>
              <a:uFillTx/>
              <a:latin typeface="IBM Plex Sans Light" pitchFamily="34"/>
              <a:ea typeface="+mn-ea"/>
              <a:cs typeface="+mn-cs"/>
            </a:endParaRPr>
          </a:p>
        </p:txBody>
      </p:sp>
      <p:sp>
        <p:nvSpPr>
          <p:cNvPr id="20" name="Text 5">
            <a:extLst>
              <a:ext uri="{FF2B5EF4-FFF2-40B4-BE49-F238E27FC236}">
                <a16:creationId xmlns:a16="http://schemas.microsoft.com/office/drawing/2014/main" id="{29D230B5-2E60-B2C1-9792-F00F7103131D}"/>
              </a:ext>
            </a:extLst>
          </p:cNvPr>
          <p:cNvSpPr txBox="1"/>
          <p:nvPr/>
        </p:nvSpPr>
        <p:spPr>
          <a:xfrm>
            <a:off x="8717532" y="2911870"/>
            <a:ext cx="2058561" cy="573639"/>
          </a:xfrm>
          <a:prstGeom prst="rect">
            <a:avLst/>
          </a:prstGeom>
          <a:noFill/>
          <a:ln cap="flat">
            <a:noFill/>
          </a:ln>
        </p:spPr>
        <p:txBody>
          <a:bodyPr vert="horz" wrap="square" lIns="0" tIns="0" rIns="0" bIns="0" anchor="t" anchorCtr="0" compatLnSpc="1">
            <a:noAutofit/>
          </a:bodyPr>
          <a:lstStyle/>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Multi-step processes​</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Autonomous action-taking​</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a:p>
            <a:pPr marL="0" marR="0" lvl="0" indent="0" algn="l" defTabSz="914400" rtl="0" eaLnBrk="1" fontAlgn="auto" latinLnBrk="0" hangingPunct="1">
              <a:lnSpc>
                <a:spcPts val="2235"/>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IBM Plex Sans" pitchFamily="34"/>
                <a:ea typeface="IBM Plex Sans Regular" pitchFamily="34"/>
                <a:cs typeface="IBM Plex Sans Regular" pitchFamily="34"/>
              </a:rPr>
              <a:t>Self-correcting​</a:t>
            </a:r>
            <a:endParaRPr kumimoji="0" lang="en-US" sz="1200" b="0" i="0" u="none" strike="noStrike" kern="1200" cap="none" spc="0" normalizeH="0" baseline="0" noProof="0">
              <a:ln>
                <a:noFill/>
              </a:ln>
              <a:solidFill>
                <a:srgbClr val="000000"/>
              </a:solidFill>
              <a:effectLst/>
              <a:uLnTx/>
              <a:uFillTx/>
              <a:latin typeface="IBM Plex Sans" pitchFamily="34"/>
              <a:ea typeface="+mn-ea"/>
              <a:cs typeface="+mn-cs"/>
            </a:endParaRPr>
          </a:p>
        </p:txBody>
      </p:sp>
      <p:grpSp>
        <p:nvGrpSpPr>
          <p:cNvPr id="21" name="Group 90">
            <a:extLst>
              <a:ext uri="{FF2B5EF4-FFF2-40B4-BE49-F238E27FC236}">
                <a16:creationId xmlns:a16="http://schemas.microsoft.com/office/drawing/2014/main" id="{92BC0437-13AD-2D9D-D3DB-399912FD2D68}"/>
              </a:ext>
            </a:extLst>
          </p:cNvPr>
          <p:cNvGrpSpPr/>
          <p:nvPr/>
        </p:nvGrpSpPr>
        <p:grpSpPr>
          <a:xfrm>
            <a:off x="5772143" y="4241051"/>
            <a:ext cx="1827666" cy="2289922"/>
            <a:chOff x="5362242" y="4241051"/>
            <a:chExt cx="1827666" cy="2289922"/>
          </a:xfrm>
        </p:grpSpPr>
        <p:sp>
          <p:nvSpPr>
            <p:cNvPr id="22" name="Rectangle 29">
              <a:extLst>
                <a:ext uri="{FF2B5EF4-FFF2-40B4-BE49-F238E27FC236}">
                  <a16:creationId xmlns:a16="http://schemas.microsoft.com/office/drawing/2014/main" id="{57C60A28-BBA9-17A9-97A1-E25C6CE51CCA}"/>
                </a:ext>
              </a:extLst>
            </p:cNvPr>
            <p:cNvSpPr/>
            <p:nvPr/>
          </p:nvSpPr>
          <p:spPr>
            <a:xfrm>
              <a:off x="5362242" y="5351425"/>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23" name="Rectangle 30">
              <a:extLst>
                <a:ext uri="{FF2B5EF4-FFF2-40B4-BE49-F238E27FC236}">
                  <a16:creationId xmlns:a16="http://schemas.microsoft.com/office/drawing/2014/main" id="{C7FC930D-8E02-420A-B82F-C274C7D92011}"/>
                </a:ext>
              </a:extLst>
            </p:cNvPr>
            <p:cNvSpPr/>
            <p:nvPr/>
          </p:nvSpPr>
          <p:spPr>
            <a:xfrm>
              <a:off x="5879756" y="4751624"/>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24" name="Rectangle 31">
              <a:extLst>
                <a:ext uri="{FF2B5EF4-FFF2-40B4-BE49-F238E27FC236}">
                  <a16:creationId xmlns:a16="http://schemas.microsoft.com/office/drawing/2014/main" id="{B6D11A1E-9DB4-9AEE-BE87-FB39DC3B0311}"/>
                </a:ext>
              </a:extLst>
            </p:cNvPr>
            <p:cNvSpPr/>
            <p:nvPr/>
          </p:nvSpPr>
          <p:spPr>
            <a:xfrm>
              <a:off x="5362242" y="6304449"/>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25" name="Rectangle 32">
              <a:extLst>
                <a:ext uri="{FF2B5EF4-FFF2-40B4-BE49-F238E27FC236}">
                  <a16:creationId xmlns:a16="http://schemas.microsoft.com/office/drawing/2014/main" id="{9A95DF08-54CF-8328-7F12-25DA6AB1C8F9}"/>
                </a:ext>
              </a:extLst>
            </p:cNvPr>
            <p:cNvSpPr/>
            <p:nvPr/>
          </p:nvSpPr>
          <p:spPr>
            <a:xfrm>
              <a:off x="6393192" y="5351425"/>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26" name="Rectangle 33">
              <a:extLst>
                <a:ext uri="{FF2B5EF4-FFF2-40B4-BE49-F238E27FC236}">
                  <a16:creationId xmlns:a16="http://schemas.microsoft.com/office/drawing/2014/main" id="{D16F902B-7CCA-FF57-1E5B-DC3FAD4A6A2F}"/>
                </a:ext>
              </a:extLst>
            </p:cNvPr>
            <p:cNvSpPr/>
            <p:nvPr/>
          </p:nvSpPr>
          <p:spPr>
            <a:xfrm>
              <a:off x="6397270" y="5837922"/>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Input</a:t>
              </a:r>
            </a:p>
          </p:txBody>
        </p:sp>
        <p:cxnSp>
          <p:nvCxnSpPr>
            <p:cNvPr id="27" name="Elbow Connector 34">
              <a:extLst>
                <a:ext uri="{FF2B5EF4-FFF2-40B4-BE49-F238E27FC236}">
                  <a16:creationId xmlns:a16="http://schemas.microsoft.com/office/drawing/2014/main" id="{B79770F4-F36F-433F-6225-07C4C822986D}"/>
                </a:ext>
              </a:extLst>
            </p:cNvPr>
            <p:cNvCxnSpPr>
              <a:stCxn id="23" idx="2"/>
              <a:endCxn id="22" idx="0"/>
            </p:cNvCxnSpPr>
            <p:nvPr/>
          </p:nvCxnSpPr>
          <p:spPr>
            <a:xfrm rot="5400000">
              <a:off x="5830680" y="4906029"/>
              <a:ext cx="373277" cy="517514"/>
            </a:xfrm>
            <a:prstGeom prst="bentConnector3">
              <a:avLst>
                <a:gd name="adj1" fmla="val 50000"/>
              </a:avLst>
            </a:prstGeom>
            <a:noFill/>
            <a:ln w="12701" cap="flat">
              <a:solidFill>
                <a:srgbClr val="000000"/>
              </a:solidFill>
              <a:prstDash val="solid"/>
              <a:miter/>
              <a:tailEnd type="arrow"/>
            </a:ln>
          </p:spPr>
        </p:cxnSp>
        <p:cxnSp>
          <p:nvCxnSpPr>
            <p:cNvPr id="28" name="Elbow Connector 35">
              <a:extLst>
                <a:ext uri="{FF2B5EF4-FFF2-40B4-BE49-F238E27FC236}">
                  <a16:creationId xmlns:a16="http://schemas.microsoft.com/office/drawing/2014/main" id="{A0E7D9D4-1403-7C44-0198-65C321AD1204}"/>
                </a:ext>
              </a:extLst>
            </p:cNvPr>
            <p:cNvCxnSpPr>
              <a:stCxn id="23" idx="2"/>
              <a:endCxn id="25" idx="0"/>
            </p:cNvCxnSpPr>
            <p:nvPr/>
          </p:nvCxnSpPr>
          <p:spPr>
            <a:xfrm rot="16200000" flipH="1">
              <a:off x="6346155" y="4908068"/>
              <a:ext cx="373277" cy="513436"/>
            </a:xfrm>
            <a:prstGeom prst="bentConnector3">
              <a:avLst>
                <a:gd name="adj1" fmla="val 50000"/>
              </a:avLst>
            </a:prstGeom>
            <a:noFill/>
            <a:ln w="12701" cap="flat">
              <a:solidFill>
                <a:srgbClr val="000000"/>
              </a:solidFill>
              <a:prstDash val="solid"/>
              <a:miter/>
              <a:tailEnd type="arrow"/>
            </a:ln>
          </p:spPr>
        </p:cxnSp>
        <p:cxnSp>
          <p:nvCxnSpPr>
            <p:cNvPr id="29" name="Elbow Connector 36">
              <a:extLst>
                <a:ext uri="{FF2B5EF4-FFF2-40B4-BE49-F238E27FC236}">
                  <a16:creationId xmlns:a16="http://schemas.microsoft.com/office/drawing/2014/main" id="{499C5F33-8BE9-FE9F-798D-6AC306BB8DCF}"/>
                </a:ext>
              </a:extLst>
            </p:cNvPr>
            <p:cNvCxnSpPr>
              <a:stCxn id="22" idx="2"/>
              <a:endCxn id="26" idx="0"/>
            </p:cNvCxnSpPr>
            <p:nvPr/>
          </p:nvCxnSpPr>
          <p:spPr>
            <a:xfrm rot="16200000" flipH="1">
              <a:off x="6146089" y="5190421"/>
              <a:ext cx="259973" cy="1035028"/>
            </a:xfrm>
            <a:prstGeom prst="bentConnector3">
              <a:avLst>
                <a:gd name="adj1" fmla="val 50000"/>
              </a:avLst>
            </a:prstGeom>
            <a:noFill/>
            <a:ln w="12701" cap="flat">
              <a:solidFill>
                <a:srgbClr val="000000"/>
              </a:solidFill>
              <a:prstDash val="solid"/>
              <a:miter/>
              <a:tailEnd type="arrow"/>
            </a:ln>
          </p:spPr>
        </p:cxnSp>
        <p:cxnSp>
          <p:nvCxnSpPr>
            <p:cNvPr id="30" name="Elbow Connector 37">
              <a:extLst>
                <a:ext uri="{FF2B5EF4-FFF2-40B4-BE49-F238E27FC236}">
                  <a16:creationId xmlns:a16="http://schemas.microsoft.com/office/drawing/2014/main" id="{0928D813-25C0-70AA-7C34-23BAC3807803}"/>
                </a:ext>
              </a:extLst>
            </p:cNvPr>
            <p:cNvCxnSpPr>
              <a:stCxn id="26" idx="2"/>
              <a:endCxn id="24" idx="0"/>
            </p:cNvCxnSpPr>
            <p:nvPr/>
          </p:nvCxnSpPr>
          <p:spPr>
            <a:xfrm rot="5400000">
              <a:off x="6156074" y="5666933"/>
              <a:ext cx="240003" cy="1035028"/>
            </a:xfrm>
            <a:prstGeom prst="bentConnector3">
              <a:avLst>
                <a:gd name="adj1" fmla="val 50000"/>
              </a:avLst>
            </a:prstGeom>
            <a:noFill/>
            <a:ln w="12701" cap="flat">
              <a:solidFill>
                <a:srgbClr val="000000"/>
              </a:solidFill>
              <a:prstDash val="solid"/>
              <a:miter/>
              <a:tailEnd type="arrow"/>
            </a:ln>
          </p:spPr>
        </p:cxnSp>
        <p:sp>
          <p:nvSpPr>
            <p:cNvPr id="31" name="Rectangle 38">
              <a:extLst>
                <a:ext uri="{FF2B5EF4-FFF2-40B4-BE49-F238E27FC236}">
                  <a16:creationId xmlns:a16="http://schemas.microsoft.com/office/drawing/2014/main" id="{8F7A15B9-3DBA-0330-186F-E4CA27C8C5F3}"/>
                </a:ext>
              </a:extLst>
            </p:cNvPr>
            <p:cNvSpPr/>
            <p:nvPr/>
          </p:nvSpPr>
          <p:spPr>
            <a:xfrm>
              <a:off x="5879756" y="4241051"/>
              <a:ext cx="792638" cy="226524"/>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Input</a:t>
              </a:r>
            </a:p>
          </p:txBody>
        </p:sp>
        <p:cxnSp>
          <p:nvCxnSpPr>
            <p:cNvPr id="32" name="Elbow Connector 39">
              <a:extLst>
                <a:ext uri="{FF2B5EF4-FFF2-40B4-BE49-F238E27FC236}">
                  <a16:creationId xmlns:a16="http://schemas.microsoft.com/office/drawing/2014/main" id="{11B4AA1B-6A17-8380-7E82-74EDFF61930F}"/>
                </a:ext>
              </a:extLst>
            </p:cNvPr>
            <p:cNvCxnSpPr>
              <a:stCxn id="31" idx="2"/>
              <a:endCxn id="23" idx="0"/>
            </p:cNvCxnSpPr>
            <p:nvPr/>
          </p:nvCxnSpPr>
          <p:spPr>
            <a:xfrm rot="5400000">
              <a:off x="6134051" y="4609599"/>
              <a:ext cx="284049" cy="12700"/>
            </a:xfrm>
            <a:prstGeom prst="bentConnector3">
              <a:avLst>
                <a:gd name="adj1" fmla="val 50000"/>
              </a:avLst>
            </a:prstGeom>
            <a:noFill/>
            <a:ln w="12701" cap="flat">
              <a:solidFill>
                <a:srgbClr val="000000"/>
              </a:solidFill>
              <a:prstDash val="solid"/>
              <a:miter/>
              <a:tailEnd type="arrow"/>
            </a:ln>
          </p:spPr>
        </p:cxnSp>
      </p:grpSp>
      <p:cxnSp>
        <p:nvCxnSpPr>
          <p:cNvPr id="33" name="Straight Connector 40">
            <a:extLst>
              <a:ext uri="{FF2B5EF4-FFF2-40B4-BE49-F238E27FC236}">
                <a16:creationId xmlns:a16="http://schemas.microsoft.com/office/drawing/2014/main" id="{06818CA4-F862-BA73-FC0A-2F185686CE53}"/>
              </a:ext>
            </a:extLst>
          </p:cNvPr>
          <p:cNvCxnSpPr/>
          <p:nvPr/>
        </p:nvCxnSpPr>
        <p:spPr>
          <a:xfrm>
            <a:off x="10200186" y="5228191"/>
            <a:ext cx="207267" cy="0"/>
          </a:xfrm>
          <a:prstGeom prst="straightConnector1">
            <a:avLst/>
          </a:prstGeom>
          <a:noFill/>
          <a:ln w="12701" cap="flat">
            <a:solidFill>
              <a:srgbClr val="000000"/>
            </a:solidFill>
            <a:prstDash val="solid"/>
            <a:miter/>
          </a:ln>
        </p:spPr>
      </p:cxnSp>
      <p:grpSp>
        <p:nvGrpSpPr>
          <p:cNvPr id="34" name="Group 88">
            <a:extLst>
              <a:ext uri="{FF2B5EF4-FFF2-40B4-BE49-F238E27FC236}">
                <a16:creationId xmlns:a16="http://schemas.microsoft.com/office/drawing/2014/main" id="{9A11AF3B-21FE-6DAE-C198-7EAE20A7BDD7}"/>
              </a:ext>
            </a:extLst>
          </p:cNvPr>
          <p:cNvGrpSpPr/>
          <p:nvPr/>
        </p:nvGrpSpPr>
        <p:grpSpPr>
          <a:xfrm>
            <a:off x="8770869" y="4116208"/>
            <a:ext cx="1475018" cy="2288221"/>
            <a:chOff x="8770869" y="4116208"/>
            <a:chExt cx="1475018" cy="2288221"/>
          </a:xfrm>
        </p:grpSpPr>
        <p:sp>
          <p:nvSpPr>
            <p:cNvPr id="35" name="Rectangle 42">
              <a:extLst>
                <a:ext uri="{FF2B5EF4-FFF2-40B4-BE49-F238E27FC236}">
                  <a16:creationId xmlns:a16="http://schemas.microsoft.com/office/drawing/2014/main" id="{629BB332-7213-9E6A-83BE-2A599DBD3829}"/>
                </a:ext>
              </a:extLst>
            </p:cNvPr>
            <p:cNvSpPr/>
            <p:nvPr/>
          </p:nvSpPr>
          <p:spPr>
            <a:xfrm>
              <a:off x="8770869" y="4116208"/>
              <a:ext cx="1475018" cy="2288221"/>
            </a:xfrm>
            <a:prstGeom prst="rect">
              <a:avLst/>
            </a:prstGeom>
            <a:noFill/>
            <a:ln w="12701" cap="flat">
              <a:solidFill>
                <a:srgbClr val="161616"/>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36" name="Rectangle 43">
              <a:extLst>
                <a:ext uri="{FF2B5EF4-FFF2-40B4-BE49-F238E27FC236}">
                  <a16:creationId xmlns:a16="http://schemas.microsoft.com/office/drawing/2014/main" id="{44BB3A98-58AC-63A5-F83A-FF34AB1F0D59}"/>
                </a:ext>
              </a:extLst>
            </p:cNvPr>
            <p:cNvSpPr/>
            <p:nvPr/>
          </p:nvSpPr>
          <p:spPr>
            <a:xfrm>
              <a:off x="8971397" y="4793723"/>
              <a:ext cx="922144" cy="1525328"/>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37" name="Rectangle 44">
              <a:extLst>
                <a:ext uri="{FF2B5EF4-FFF2-40B4-BE49-F238E27FC236}">
                  <a16:creationId xmlns:a16="http://schemas.microsoft.com/office/drawing/2014/main" id="{D1C7ACC4-B6AF-73D9-CD09-C3AF77A7D87A}"/>
                </a:ext>
              </a:extLst>
            </p:cNvPr>
            <p:cNvSpPr/>
            <p:nvPr/>
          </p:nvSpPr>
          <p:spPr>
            <a:xfrm>
              <a:off x="9114675" y="4979767"/>
              <a:ext cx="635599" cy="248424"/>
            </a:xfrm>
            <a:prstGeom prst="rect">
              <a:avLst/>
            </a:prstGeom>
            <a:solidFill>
              <a:srgbClr val="D9D9D9"/>
            </a:solidFill>
            <a:ln cap="flat">
              <a:noFill/>
              <a:prstDash val="solid"/>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1200" cap="none" spc="0" normalizeH="0" baseline="0" noProof="0">
                  <a:ln>
                    <a:noFill/>
                  </a:ln>
                  <a:solidFill>
                    <a:srgbClr val="000000"/>
                  </a:solidFill>
                  <a:effectLst/>
                  <a:uLnTx/>
                  <a:uFillTx/>
                  <a:latin typeface="IBM Plex Sans Light"/>
                  <a:ea typeface="+mn-ea"/>
                  <a:cs typeface="+mn-cs"/>
                </a:rPr>
                <a:t>Plan</a:t>
              </a:r>
            </a:p>
          </p:txBody>
        </p:sp>
        <p:sp>
          <p:nvSpPr>
            <p:cNvPr id="38" name="Rectangle 45">
              <a:extLst>
                <a:ext uri="{FF2B5EF4-FFF2-40B4-BE49-F238E27FC236}">
                  <a16:creationId xmlns:a16="http://schemas.microsoft.com/office/drawing/2014/main" id="{6502F76B-2AE1-5C1E-F230-A49B2EE8C732}"/>
                </a:ext>
              </a:extLst>
            </p:cNvPr>
            <p:cNvSpPr/>
            <p:nvPr/>
          </p:nvSpPr>
          <p:spPr>
            <a:xfrm>
              <a:off x="9114675" y="5458986"/>
              <a:ext cx="635599" cy="248424"/>
            </a:xfrm>
            <a:prstGeom prst="rect">
              <a:avLst/>
            </a:prstGeom>
            <a:solidFill>
              <a:srgbClr val="D9D9D9"/>
            </a:solidFill>
            <a:ln cap="flat">
              <a:noFill/>
              <a:prstDash val="solid"/>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1200" cap="none" spc="0" normalizeH="0" baseline="0" noProof="0">
                  <a:ln>
                    <a:noFill/>
                  </a:ln>
                  <a:solidFill>
                    <a:srgbClr val="000000"/>
                  </a:solidFill>
                  <a:effectLst/>
                  <a:uLnTx/>
                  <a:uFillTx/>
                  <a:latin typeface="IBM Plex Sans Light"/>
                  <a:ea typeface="+mn-ea"/>
                  <a:cs typeface="+mn-cs"/>
                </a:rPr>
                <a:t>Action</a:t>
              </a:r>
            </a:p>
          </p:txBody>
        </p:sp>
        <p:sp>
          <p:nvSpPr>
            <p:cNvPr id="39" name="Rectangle 46">
              <a:extLst>
                <a:ext uri="{FF2B5EF4-FFF2-40B4-BE49-F238E27FC236}">
                  <a16:creationId xmlns:a16="http://schemas.microsoft.com/office/drawing/2014/main" id="{54A83F80-2961-A276-25CC-3C5A6BB42A06}"/>
                </a:ext>
              </a:extLst>
            </p:cNvPr>
            <p:cNvSpPr/>
            <p:nvPr/>
          </p:nvSpPr>
          <p:spPr>
            <a:xfrm>
              <a:off x="8971397" y="4277444"/>
              <a:ext cx="922144"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Input</a:t>
              </a:r>
            </a:p>
          </p:txBody>
        </p:sp>
        <p:cxnSp>
          <p:nvCxnSpPr>
            <p:cNvPr id="40" name="Straight Arrow Connector 47">
              <a:extLst>
                <a:ext uri="{FF2B5EF4-FFF2-40B4-BE49-F238E27FC236}">
                  <a16:creationId xmlns:a16="http://schemas.microsoft.com/office/drawing/2014/main" id="{DE134BA9-AD9D-EB05-2334-5E0EA71A6464}"/>
                </a:ext>
              </a:extLst>
            </p:cNvPr>
            <p:cNvCxnSpPr>
              <a:stCxn id="37" idx="2"/>
              <a:endCxn id="38" idx="0"/>
            </p:cNvCxnSpPr>
            <p:nvPr/>
          </p:nvCxnSpPr>
          <p:spPr>
            <a:xfrm>
              <a:off x="9432475" y="5228191"/>
              <a:ext cx="0" cy="230795"/>
            </a:xfrm>
            <a:prstGeom prst="straightConnector1">
              <a:avLst/>
            </a:prstGeom>
            <a:noFill/>
            <a:ln w="12701" cap="flat">
              <a:solidFill>
                <a:srgbClr val="000000"/>
              </a:solidFill>
              <a:prstDash val="solid"/>
              <a:miter/>
              <a:tailEnd type="arrow"/>
            </a:ln>
          </p:spPr>
        </p:cxnSp>
        <p:sp>
          <p:nvSpPr>
            <p:cNvPr id="41" name="Rectangle 48">
              <a:extLst>
                <a:ext uri="{FF2B5EF4-FFF2-40B4-BE49-F238E27FC236}">
                  <a16:creationId xmlns:a16="http://schemas.microsoft.com/office/drawing/2014/main" id="{4299823A-CB2A-C3F9-2142-ACE5001A37B4}"/>
                </a:ext>
              </a:extLst>
            </p:cNvPr>
            <p:cNvSpPr/>
            <p:nvPr/>
          </p:nvSpPr>
          <p:spPr>
            <a:xfrm>
              <a:off x="9114675" y="5951326"/>
              <a:ext cx="635599" cy="248424"/>
            </a:xfrm>
            <a:prstGeom prst="rect">
              <a:avLst/>
            </a:prstGeom>
            <a:solidFill>
              <a:srgbClr val="D9D9D9"/>
            </a:solidFill>
            <a:ln cap="flat">
              <a:noFill/>
              <a:prstDash val="solid"/>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1200" cap="none" spc="0" normalizeH="0" baseline="0" noProof="0">
                  <a:ln>
                    <a:noFill/>
                  </a:ln>
                  <a:solidFill>
                    <a:srgbClr val="000000"/>
                  </a:solidFill>
                  <a:effectLst/>
                  <a:uLnTx/>
                  <a:uFillTx/>
                  <a:latin typeface="IBM Plex Sans Light"/>
                  <a:ea typeface="+mn-ea"/>
                  <a:cs typeface="+mn-cs"/>
                </a:rPr>
                <a:t>Reflect</a:t>
              </a:r>
            </a:p>
          </p:txBody>
        </p:sp>
        <p:cxnSp>
          <p:nvCxnSpPr>
            <p:cNvPr id="42" name="Straight Arrow Connector 49">
              <a:extLst>
                <a:ext uri="{FF2B5EF4-FFF2-40B4-BE49-F238E27FC236}">
                  <a16:creationId xmlns:a16="http://schemas.microsoft.com/office/drawing/2014/main" id="{F90D8620-9135-D7C9-385E-088ACCB28FE9}"/>
                </a:ext>
              </a:extLst>
            </p:cNvPr>
            <p:cNvCxnSpPr>
              <a:stCxn id="38" idx="2"/>
              <a:endCxn id="41" idx="0"/>
            </p:cNvCxnSpPr>
            <p:nvPr/>
          </p:nvCxnSpPr>
          <p:spPr>
            <a:xfrm>
              <a:off x="9432475" y="5707410"/>
              <a:ext cx="0" cy="243916"/>
            </a:xfrm>
            <a:prstGeom prst="straightConnector1">
              <a:avLst/>
            </a:prstGeom>
            <a:noFill/>
            <a:ln w="12701" cap="flat">
              <a:solidFill>
                <a:srgbClr val="000000"/>
              </a:solidFill>
              <a:prstDash val="solid"/>
              <a:miter/>
              <a:tailEnd type="arrow"/>
            </a:ln>
          </p:spPr>
        </p:cxnSp>
        <p:cxnSp>
          <p:nvCxnSpPr>
            <p:cNvPr id="43" name="Straight Arrow Connector 50">
              <a:extLst>
                <a:ext uri="{FF2B5EF4-FFF2-40B4-BE49-F238E27FC236}">
                  <a16:creationId xmlns:a16="http://schemas.microsoft.com/office/drawing/2014/main" id="{A42AB73C-F187-1EF6-7145-2F2C78960A7D}"/>
                </a:ext>
              </a:extLst>
            </p:cNvPr>
            <p:cNvCxnSpPr>
              <a:stCxn id="39" idx="2"/>
              <a:endCxn id="36" idx="0"/>
            </p:cNvCxnSpPr>
            <p:nvPr/>
          </p:nvCxnSpPr>
          <p:spPr>
            <a:xfrm>
              <a:off x="9432469" y="4553757"/>
              <a:ext cx="0" cy="239966"/>
            </a:xfrm>
            <a:prstGeom prst="straightConnector1">
              <a:avLst/>
            </a:prstGeom>
            <a:noFill/>
            <a:ln w="12701" cap="flat">
              <a:solidFill>
                <a:srgbClr val="000000"/>
              </a:solidFill>
              <a:prstDash val="solid"/>
              <a:miter/>
              <a:headEnd type="arrow"/>
              <a:tailEnd type="arrow"/>
            </a:ln>
          </p:spPr>
        </p:cxnSp>
        <p:cxnSp>
          <p:nvCxnSpPr>
            <p:cNvPr id="44" name="Elbow Connector 51">
              <a:extLst>
                <a:ext uri="{FF2B5EF4-FFF2-40B4-BE49-F238E27FC236}">
                  <a16:creationId xmlns:a16="http://schemas.microsoft.com/office/drawing/2014/main" id="{146EA9B3-C710-3420-CD3A-ECE9B41C0C0E}"/>
                </a:ext>
              </a:extLst>
            </p:cNvPr>
            <p:cNvCxnSpPr>
              <a:stCxn id="41" idx="3"/>
              <a:endCxn id="37" idx="3"/>
            </p:cNvCxnSpPr>
            <p:nvPr/>
          </p:nvCxnSpPr>
          <p:spPr>
            <a:xfrm flipV="1">
              <a:off x="9750274" y="5103979"/>
              <a:ext cx="12700" cy="971559"/>
            </a:xfrm>
            <a:prstGeom prst="bentConnector3">
              <a:avLst>
                <a:gd name="adj1" fmla="val 1800000"/>
              </a:avLst>
            </a:prstGeom>
            <a:noFill/>
            <a:ln w="12701" cap="flat">
              <a:solidFill>
                <a:srgbClr val="000000"/>
              </a:solidFill>
              <a:prstDash val="solid"/>
              <a:miter/>
              <a:tailEnd type="arrow"/>
            </a:ln>
          </p:spPr>
        </p:cxnSp>
      </p:grpSp>
      <p:grpSp>
        <p:nvGrpSpPr>
          <p:cNvPr id="45" name="Group 89">
            <a:extLst>
              <a:ext uri="{FF2B5EF4-FFF2-40B4-BE49-F238E27FC236}">
                <a16:creationId xmlns:a16="http://schemas.microsoft.com/office/drawing/2014/main" id="{47FF8364-09B7-1AD5-52CA-3E52B556A8E2}"/>
              </a:ext>
            </a:extLst>
          </p:cNvPr>
          <p:cNvGrpSpPr/>
          <p:nvPr/>
        </p:nvGrpSpPr>
        <p:grpSpPr>
          <a:xfrm>
            <a:off x="10356704" y="4328659"/>
            <a:ext cx="1642354" cy="2090465"/>
            <a:chOff x="10356704" y="4328659"/>
            <a:chExt cx="1642354" cy="2090465"/>
          </a:xfrm>
        </p:grpSpPr>
        <p:sp>
          <p:nvSpPr>
            <p:cNvPr id="46" name="TextBox 53">
              <a:extLst>
                <a:ext uri="{FF2B5EF4-FFF2-40B4-BE49-F238E27FC236}">
                  <a16:creationId xmlns:a16="http://schemas.microsoft.com/office/drawing/2014/main" id="{13272464-0368-712D-16C9-0EA613B3D64E}"/>
                </a:ext>
              </a:extLst>
            </p:cNvPr>
            <p:cNvSpPr txBox="1"/>
            <p:nvPr/>
          </p:nvSpPr>
          <p:spPr>
            <a:xfrm>
              <a:off x="10358359" y="6116833"/>
              <a:ext cx="0" cy="0"/>
            </a:xfrm>
            <a:prstGeom prst="rect">
              <a:avLst/>
            </a:prstGeom>
            <a:noFill/>
            <a:ln cap="flat">
              <a:noFill/>
            </a:ln>
          </p:spPr>
          <p:txBody>
            <a:bodyPr vert="horz" wrap="none" lIns="0" tIns="0" rIns="0" bIns="0" anchor="t" anchorCtr="0" compatLnSpc="1">
              <a:noAutofit/>
            </a:bodyPr>
            <a:lstStyle/>
            <a:p>
              <a:pPr marL="444471" marR="0" lvl="0" indent="-446757" algn="l" defTabSz="2438430" rtl="0" eaLnBrk="1" fontAlgn="auto" latinLnBrk="0" hangingPunct="1">
                <a:lnSpc>
                  <a:spcPct val="100000"/>
                </a:lnSpc>
                <a:spcBef>
                  <a:spcPts val="2900"/>
                </a:spcBef>
                <a:spcAft>
                  <a:spcPts val="0"/>
                </a:spcAft>
                <a:buClrTx/>
                <a:buSzPct val="100000"/>
                <a:buFontTx/>
                <a:buChar char="–"/>
                <a:tabLst/>
                <a:defRPr sz="1800" b="0" i="0" u="none" strike="noStrike" kern="0" cap="none" spc="0" baseline="0">
                  <a:solidFill>
                    <a:srgbClr val="000000"/>
                  </a:solidFill>
                  <a:uFillTx/>
                </a:defRPr>
              </a:pPr>
              <a:endParaRPr kumimoji="0" lang="en-GB" sz="506" b="0" i="0" u="none" strike="noStrike" kern="0" cap="none" spc="0" normalizeH="0" baseline="0" noProof="0">
                <a:ln>
                  <a:noFill/>
                </a:ln>
                <a:solidFill>
                  <a:srgbClr val="000000"/>
                </a:solidFill>
                <a:effectLst/>
                <a:uLnTx/>
                <a:uFillTx/>
                <a:latin typeface="IBM Plex Sans Light"/>
                <a:ea typeface="+mn-ea"/>
                <a:cs typeface="+mn-cs"/>
              </a:endParaRPr>
            </a:p>
          </p:txBody>
        </p:sp>
        <p:sp>
          <p:nvSpPr>
            <p:cNvPr id="47" name="Rectangle 54">
              <a:extLst>
                <a:ext uri="{FF2B5EF4-FFF2-40B4-BE49-F238E27FC236}">
                  <a16:creationId xmlns:a16="http://schemas.microsoft.com/office/drawing/2014/main" id="{CAA9D932-BDF7-4D57-B458-9B80FECC9499}"/>
                </a:ext>
              </a:extLst>
            </p:cNvPr>
            <p:cNvSpPr/>
            <p:nvPr/>
          </p:nvSpPr>
          <p:spPr>
            <a:xfrm>
              <a:off x="11032190" y="5509314"/>
              <a:ext cx="966868"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gent</a:t>
              </a:r>
            </a:p>
          </p:txBody>
        </p:sp>
        <p:sp>
          <p:nvSpPr>
            <p:cNvPr id="48" name="Rectangle 55">
              <a:extLst>
                <a:ext uri="{FF2B5EF4-FFF2-40B4-BE49-F238E27FC236}">
                  <a16:creationId xmlns:a16="http://schemas.microsoft.com/office/drawing/2014/main" id="{BDC3AB54-CF25-AB8A-8D16-AD87E6B66BBD}"/>
                </a:ext>
              </a:extLst>
            </p:cNvPr>
            <p:cNvSpPr/>
            <p:nvPr/>
          </p:nvSpPr>
          <p:spPr>
            <a:xfrm>
              <a:off x="10389202" y="5068884"/>
              <a:ext cx="966868"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gent</a:t>
              </a:r>
            </a:p>
          </p:txBody>
        </p:sp>
        <p:sp>
          <p:nvSpPr>
            <p:cNvPr id="49" name="Rectangle 58">
              <a:extLst>
                <a:ext uri="{FF2B5EF4-FFF2-40B4-BE49-F238E27FC236}">
                  <a16:creationId xmlns:a16="http://schemas.microsoft.com/office/drawing/2014/main" id="{C8FAF98A-B9D9-F6D9-493A-24DAD7845617}"/>
                </a:ext>
              </a:extLst>
            </p:cNvPr>
            <p:cNvSpPr/>
            <p:nvPr/>
          </p:nvSpPr>
          <p:spPr>
            <a:xfrm>
              <a:off x="10389202" y="6142811"/>
              <a:ext cx="966868"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gent</a:t>
              </a:r>
            </a:p>
          </p:txBody>
        </p:sp>
        <p:sp>
          <p:nvSpPr>
            <p:cNvPr id="50" name="Rectangle 59">
              <a:extLst>
                <a:ext uri="{FF2B5EF4-FFF2-40B4-BE49-F238E27FC236}">
                  <a16:creationId xmlns:a16="http://schemas.microsoft.com/office/drawing/2014/main" id="{5A2AB9DF-56CD-842F-5949-AFEF7AB6F251}"/>
                </a:ext>
              </a:extLst>
            </p:cNvPr>
            <p:cNvSpPr/>
            <p:nvPr/>
          </p:nvSpPr>
          <p:spPr>
            <a:xfrm>
              <a:off x="11032190" y="4328659"/>
              <a:ext cx="966868" cy="276313"/>
            </a:xfrm>
            <a:prstGeom prst="rect">
              <a:avLst/>
            </a:prstGeom>
            <a:solidFill>
              <a:srgbClr val="E5F6FF"/>
            </a:solidFill>
            <a:ln w="19046" cap="flat">
              <a:solidFill>
                <a:srgbClr val="E5F6FF"/>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0" i="0" u="none" strike="noStrike" kern="1200" cap="none" spc="0" normalizeH="0" baseline="0" noProof="0">
                  <a:ln>
                    <a:noFill/>
                  </a:ln>
                  <a:solidFill>
                    <a:srgbClr val="000000"/>
                  </a:solidFill>
                  <a:effectLst/>
                  <a:uLnTx/>
                  <a:uFillTx/>
                  <a:latin typeface="IBM Plex Sans Light"/>
                  <a:ea typeface="+mn-ea"/>
                  <a:cs typeface="+mn-cs"/>
                </a:rPr>
                <a:t>Agent</a:t>
              </a:r>
            </a:p>
          </p:txBody>
        </p:sp>
        <p:cxnSp>
          <p:nvCxnSpPr>
            <p:cNvPr id="51" name="Elbow Connector 61">
              <a:extLst>
                <a:ext uri="{FF2B5EF4-FFF2-40B4-BE49-F238E27FC236}">
                  <a16:creationId xmlns:a16="http://schemas.microsoft.com/office/drawing/2014/main" id="{4E80629D-2FB9-16B9-964B-1F0ED6F29BA0}"/>
                </a:ext>
              </a:extLst>
            </p:cNvPr>
            <p:cNvCxnSpPr>
              <a:stCxn id="50" idx="2"/>
              <a:endCxn id="55" idx="0"/>
            </p:cNvCxnSpPr>
            <p:nvPr/>
          </p:nvCxnSpPr>
          <p:spPr>
            <a:xfrm rot="5400000">
              <a:off x="10980968" y="4498456"/>
              <a:ext cx="428141" cy="641173"/>
            </a:xfrm>
            <a:prstGeom prst="bentConnector3">
              <a:avLst>
                <a:gd name="adj1" fmla="val 50000"/>
              </a:avLst>
            </a:prstGeom>
            <a:noFill/>
            <a:ln w="12701" cap="flat">
              <a:solidFill>
                <a:srgbClr val="000000"/>
              </a:solidFill>
              <a:prstDash val="solid"/>
              <a:miter/>
              <a:headEnd type="arrow"/>
              <a:tailEnd type="arrow"/>
            </a:ln>
          </p:spPr>
        </p:cxnSp>
        <p:cxnSp>
          <p:nvCxnSpPr>
            <p:cNvPr id="52" name="Elbow Connector 62">
              <a:extLst>
                <a:ext uri="{FF2B5EF4-FFF2-40B4-BE49-F238E27FC236}">
                  <a16:creationId xmlns:a16="http://schemas.microsoft.com/office/drawing/2014/main" id="{6162667B-3DDA-0394-8603-9A92BEA6EF29}"/>
                </a:ext>
              </a:extLst>
            </p:cNvPr>
            <p:cNvCxnSpPr>
              <a:stCxn id="47" idx="1"/>
              <a:endCxn id="55" idx="2"/>
            </p:cNvCxnSpPr>
            <p:nvPr/>
          </p:nvCxnSpPr>
          <p:spPr>
            <a:xfrm rot="10800000">
              <a:off x="10874452" y="5371157"/>
              <a:ext cx="157739" cy="276314"/>
            </a:xfrm>
            <a:prstGeom prst="bentConnector2">
              <a:avLst/>
            </a:prstGeom>
            <a:noFill/>
            <a:ln w="12701" cap="flat">
              <a:solidFill>
                <a:srgbClr val="000000"/>
              </a:solidFill>
              <a:prstDash val="solid"/>
              <a:miter/>
              <a:headEnd type="arrow"/>
              <a:tailEnd type="arrow"/>
            </a:ln>
          </p:spPr>
        </p:cxnSp>
        <p:cxnSp>
          <p:nvCxnSpPr>
            <p:cNvPr id="53" name="Elbow Connector 63">
              <a:extLst>
                <a:ext uri="{FF2B5EF4-FFF2-40B4-BE49-F238E27FC236}">
                  <a16:creationId xmlns:a16="http://schemas.microsoft.com/office/drawing/2014/main" id="{D6D91C8F-0600-A129-4438-2B8CE7DEC7D1}"/>
                </a:ext>
              </a:extLst>
            </p:cNvPr>
            <p:cNvCxnSpPr>
              <a:stCxn id="47" idx="0"/>
            </p:cNvCxnSpPr>
            <p:nvPr/>
          </p:nvCxnSpPr>
          <p:spPr>
            <a:xfrm rot="5399996" flipV="1">
              <a:off x="11062229" y="5055918"/>
              <a:ext cx="904341" cy="2451"/>
            </a:xfrm>
            <a:prstGeom prst="bentConnector3">
              <a:avLst/>
            </a:prstGeom>
            <a:noFill/>
            <a:ln w="12701" cap="flat">
              <a:solidFill>
                <a:srgbClr val="000000"/>
              </a:solidFill>
              <a:prstDash val="solid"/>
              <a:miter/>
              <a:headEnd type="arrow"/>
              <a:tailEnd type="arrow"/>
            </a:ln>
          </p:spPr>
        </p:cxnSp>
        <p:cxnSp>
          <p:nvCxnSpPr>
            <p:cNvPr id="54" name="Elbow Connector 64">
              <a:extLst>
                <a:ext uri="{FF2B5EF4-FFF2-40B4-BE49-F238E27FC236}">
                  <a16:creationId xmlns:a16="http://schemas.microsoft.com/office/drawing/2014/main" id="{8E58E511-905D-EE81-88F6-BD75C979670F}"/>
                </a:ext>
              </a:extLst>
            </p:cNvPr>
            <p:cNvCxnSpPr>
              <a:stCxn id="47" idx="2"/>
              <a:endCxn id="49" idx="0"/>
            </p:cNvCxnSpPr>
            <p:nvPr/>
          </p:nvCxnSpPr>
          <p:spPr>
            <a:xfrm rot="5400000">
              <a:off x="11015538" y="5642725"/>
              <a:ext cx="357184" cy="642988"/>
            </a:xfrm>
            <a:prstGeom prst="bentConnector3">
              <a:avLst>
                <a:gd name="adj1" fmla="val 50000"/>
              </a:avLst>
            </a:prstGeom>
            <a:noFill/>
            <a:ln w="12701" cap="flat">
              <a:solidFill>
                <a:srgbClr val="000000"/>
              </a:solidFill>
              <a:prstDash val="solid"/>
              <a:miter/>
              <a:headEnd type="arrow"/>
              <a:tailEnd type="arrow"/>
            </a:ln>
          </p:spPr>
        </p:cxnSp>
        <p:sp>
          <p:nvSpPr>
            <p:cNvPr id="55" name="Rectangle 66">
              <a:extLst>
                <a:ext uri="{FF2B5EF4-FFF2-40B4-BE49-F238E27FC236}">
                  <a16:creationId xmlns:a16="http://schemas.microsoft.com/office/drawing/2014/main" id="{DD057423-90F6-90C3-AF50-08E5B315A670}"/>
                </a:ext>
              </a:extLst>
            </p:cNvPr>
            <p:cNvSpPr/>
            <p:nvPr/>
          </p:nvSpPr>
          <p:spPr>
            <a:xfrm>
              <a:off x="10356704" y="5033113"/>
              <a:ext cx="1035493" cy="338044"/>
            </a:xfrm>
            <a:prstGeom prst="rect">
              <a:avLst/>
            </a:prstGeom>
            <a:noFill/>
            <a:ln w="12701" cap="flat">
              <a:solidFill>
                <a:srgbClr val="000000"/>
              </a:solidFill>
              <a:prstDash val="solid"/>
              <a:miter/>
            </a:ln>
          </p:spPr>
          <p:txBody>
            <a:bodyPr vert="horz" wrap="square" lIns="91430" tIns="91430" rIns="91430" bIns="91430" anchor="ctr" anchorCtr="1" compatLnSpc="1">
              <a:noAutofit/>
            </a:bodyPr>
            <a:lstStyle/>
            <a:p>
              <a:pPr marL="0" marR="0" lvl="0" indent="0" algn="ctr"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0" i="0" u="none" strike="noStrike" kern="1200" cap="none" spc="0" normalizeH="0" baseline="0" noProof="0">
                <a:ln>
                  <a:noFill/>
                </a:ln>
                <a:solidFill>
                  <a:srgbClr val="000000"/>
                </a:solidFill>
                <a:effectLst/>
                <a:uLnTx/>
                <a:uFillTx/>
                <a:latin typeface="IBM Plex Sans Light"/>
                <a:ea typeface="+mn-ea"/>
                <a:cs typeface="+mn-cs"/>
              </a:endParaRPr>
            </a:p>
          </p:txBody>
        </p:sp>
      </p:grpSp>
      <p:sp>
        <p:nvSpPr>
          <p:cNvPr id="56" name="TextBox 73">
            <a:extLst>
              <a:ext uri="{FF2B5EF4-FFF2-40B4-BE49-F238E27FC236}">
                <a16:creationId xmlns:a16="http://schemas.microsoft.com/office/drawing/2014/main" id="{FD36F27B-BA11-4042-D321-44BC7C4FEAC7}"/>
              </a:ext>
            </a:extLst>
          </p:cNvPr>
          <p:cNvSpPr txBox="1"/>
          <p:nvPr/>
        </p:nvSpPr>
        <p:spPr>
          <a:xfrm>
            <a:off x="8722342" y="6471016"/>
            <a:ext cx="1764755" cy="261609"/>
          </a:xfrm>
          <a:prstGeom prst="rect">
            <a:avLst/>
          </a:prstGeom>
          <a:noFill/>
          <a:ln cap="flat">
            <a:noFill/>
          </a:ln>
        </p:spPr>
        <p:txBody>
          <a:bodyPr vert="horz" wrap="square" lIns="91440" tIns="45720" rIns="91440" bIns="45720" anchor="t" anchorCtr="0" compatLnSpc="1">
            <a:spAutoFit/>
          </a:bodyPr>
          <a:lstStyle/>
          <a:p>
            <a:pPr marL="0" marR="0" lvl="0" indent="0" algn="l"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050" b="1" i="0" u="none" strike="noStrike" kern="0" cap="none" spc="0" normalizeH="0" baseline="0" noProof="0">
                <a:ln>
                  <a:noFill/>
                </a:ln>
                <a:solidFill>
                  <a:srgbClr val="000000"/>
                </a:solidFill>
                <a:effectLst/>
                <a:uLnTx/>
                <a:uFillTx/>
                <a:latin typeface="IBM Plex Sans Light"/>
                <a:ea typeface="+mn-ea"/>
                <a:cs typeface="+mn-cs"/>
              </a:rPr>
              <a:t>Single-agent assistants</a:t>
            </a:r>
          </a:p>
        </p:txBody>
      </p:sp>
      <p:sp>
        <p:nvSpPr>
          <p:cNvPr id="57" name="TextBox 74">
            <a:extLst>
              <a:ext uri="{FF2B5EF4-FFF2-40B4-BE49-F238E27FC236}">
                <a16:creationId xmlns:a16="http://schemas.microsoft.com/office/drawing/2014/main" id="{E3E20BAB-27F0-0476-AEDC-5D4EB0B7F3A9}"/>
              </a:ext>
            </a:extLst>
          </p:cNvPr>
          <p:cNvSpPr txBox="1"/>
          <p:nvPr/>
        </p:nvSpPr>
        <p:spPr>
          <a:xfrm>
            <a:off x="10514411" y="6471016"/>
            <a:ext cx="1741072" cy="261609"/>
          </a:xfrm>
          <a:prstGeom prst="rect">
            <a:avLst/>
          </a:prstGeom>
          <a:noFill/>
          <a:ln cap="flat">
            <a:noFill/>
          </a:ln>
        </p:spPr>
        <p:txBody>
          <a:bodyPr vert="horz" wrap="square" lIns="91440" tIns="45720" rIns="91440" bIns="45720" anchor="t" anchorCtr="0" compatLnSpc="1">
            <a:spAutoFit/>
          </a:bodyPr>
          <a:lstStyle/>
          <a:p>
            <a:pPr marL="0" marR="0" lvl="0" indent="0" algn="l"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050" b="1" i="0" u="none" strike="noStrike" kern="0" cap="none" spc="0" normalizeH="0" baseline="0" noProof="0">
                <a:ln>
                  <a:noFill/>
                </a:ln>
                <a:solidFill>
                  <a:srgbClr val="000000"/>
                </a:solidFill>
                <a:effectLst/>
                <a:uLnTx/>
                <a:uFillTx/>
                <a:latin typeface="IBM Plex Sans Light"/>
                <a:ea typeface="+mn-ea"/>
                <a:cs typeface="+mn-cs"/>
              </a:rPr>
              <a:t>Multi-agents assistants</a:t>
            </a:r>
          </a:p>
        </p:txBody>
      </p:sp>
      <p:sp>
        <p:nvSpPr>
          <p:cNvPr id="58" name="TextBox 75">
            <a:extLst>
              <a:ext uri="{FF2B5EF4-FFF2-40B4-BE49-F238E27FC236}">
                <a16:creationId xmlns:a16="http://schemas.microsoft.com/office/drawing/2014/main" id="{560A169F-A956-4BEE-E972-E28534F19D1A}"/>
              </a:ext>
            </a:extLst>
          </p:cNvPr>
          <p:cNvSpPr txBox="1"/>
          <p:nvPr/>
        </p:nvSpPr>
        <p:spPr>
          <a:xfrm>
            <a:off x="6632676" y="6458151"/>
            <a:ext cx="1588468" cy="261609"/>
          </a:xfrm>
          <a:prstGeom prst="rect">
            <a:avLst/>
          </a:prstGeom>
          <a:noFill/>
          <a:ln cap="flat">
            <a:noFill/>
          </a:ln>
        </p:spPr>
        <p:txBody>
          <a:bodyPr vert="horz" wrap="square" lIns="91440" tIns="45720" rIns="91440" bIns="45720" anchor="t" anchorCtr="0" compatLnSpc="1">
            <a:spAutoFit/>
          </a:bodyPr>
          <a:lstStyle/>
          <a:p>
            <a:pPr marL="0" marR="0" lvl="0" indent="0" algn="l" defTabSz="914409"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050" b="1" i="0" u="none" strike="noStrike" kern="0" cap="none" spc="0" normalizeH="0" baseline="0" noProof="0">
                <a:ln>
                  <a:noFill/>
                </a:ln>
                <a:solidFill>
                  <a:srgbClr val="000000"/>
                </a:solidFill>
                <a:effectLst/>
                <a:uLnTx/>
                <a:uFillTx/>
                <a:latin typeface="IBM Plex Sans Light"/>
                <a:ea typeface="+mn-ea"/>
                <a:cs typeface="+mn-cs"/>
              </a:rPr>
              <a:t>Traditional assistants</a:t>
            </a:r>
          </a:p>
        </p:txBody>
      </p:sp>
      <p:sp>
        <p:nvSpPr>
          <p:cNvPr id="59" name="Title 4">
            <a:extLst>
              <a:ext uri="{FF2B5EF4-FFF2-40B4-BE49-F238E27FC236}">
                <a16:creationId xmlns:a16="http://schemas.microsoft.com/office/drawing/2014/main" id="{DF2617AF-1F88-DF66-A7C5-6963355B9852}"/>
              </a:ext>
            </a:extLst>
          </p:cNvPr>
          <p:cNvSpPr txBox="1">
            <a:spLocks/>
          </p:cNvSpPr>
          <p:nvPr/>
        </p:nvSpPr>
        <p:spPr>
          <a:xfrm>
            <a:off x="64005" y="247897"/>
            <a:ext cx="1968338" cy="3953015"/>
          </a:xfrm>
          <a:prstGeom prst="rect">
            <a:avLst/>
          </a:prstGeom>
          <a:noFill/>
          <a:ln>
            <a:noFill/>
          </a:ln>
        </p:spPr>
        <p:txBody>
          <a:bodyPr vert="horz" wrap="square" lIns="0" tIns="0" rIns="0" bIns="0" anchor="t" anchorCtr="0" compatLnSpc="1">
            <a:noAutofit/>
          </a:bodyPr>
          <a:lstStyle>
            <a:lvl1pPr marL="0" marR="0" lvl="0" indent="0" algn="l" defTabSz="1218959" rtl="0" fontAlgn="auto" hangingPunct="1">
              <a:lnSpc>
                <a:spcPct val="110000"/>
              </a:lnSpc>
              <a:spcBef>
                <a:spcPts val="0"/>
              </a:spcBef>
              <a:spcAft>
                <a:spcPts val="0"/>
              </a:spcAft>
              <a:buNone/>
              <a:tabLst/>
              <a:defRPr lang="en-US" sz="1400" b="0" i="0" u="none" strike="noStrike" kern="0" cap="none" spc="0" baseline="0">
                <a:solidFill>
                  <a:srgbClr val="000000"/>
                </a:solidFill>
                <a:uFillTx/>
                <a:latin typeface="IBM Plex Sans Light"/>
              </a:defRPr>
            </a:lvl1pPr>
          </a:lstStyle>
          <a:p>
            <a:pPr marL="0" marR="0" lvl="0" indent="0" algn="l" defTabSz="1218959" rtl="0" eaLnBrk="1" fontAlgn="auto" latinLnBrk="0" hangingPunct="1">
              <a:lnSpc>
                <a:spcPct val="110000"/>
              </a:lnSpc>
              <a:spcBef>
                <a:spcPts val="0"/>
              </a:spcBef>
              <a:spcAft>
                <a:spcPts val="0"/>
              </a:spcAft>
              <a:buClrTx/>
              <a:buSzTx/>
              <a:buFontTx/>
              <a:buNone/>
              <a:tabLst/>
              <a:defRPr/>
            </a:pPr>
            <a:r>
              <a:rPr kumimoji="0" lang="en-US" sz="2500" b="0" i="0" u="none" strike="noStrike" kern="0" cap="none" spc="0" normalizeH="0" baseline="0" noProof="0" dirty="0">
                <a:ln>
                  <a:noFill/>
                </a:ln>
                <a:solidFill>
                  <a:srgbClr val="000000"/>
                </a:solidFill>
                <a:effectLst/>
                <a:uLnTx/>
                <a:uFillTx/>
                <a:latin typeface="IBM Plex Sans ExtLt" panose="020B0303050203000203" pitchFamily="34" charset="0"/>
                <a:ea typeface="+mn-ea"/>
                <a:cs typeface="+mn-cs"/>
              </a:rPr>
              <a:t>Fundamental Shift in AI is underway</a:t>
            </a:r>
            <a:br>
              <a:rPr kumimoji="0" lang="en-US" sz="2500" b="0" i="0" u="none" strike="noStrike" kern="0" cap="none" spc="0" normalizeH="0" baseline="0" noProof="0" dirty="0">
                <a:ln>
                  <a:noFill/>
                </a:ln>
                <a:solidFill>
                  <a:srgbClr val="000000"/>
                </a:solidFill>
                <a:effectLst/>
                <a:uLnTx/>
                <a:uFillTx/>
                <a:latin typeface="IBM Plex Sans ExtLt" panose="020B0303050203000203" pitchFamily="34" charset="0"/>
                <a:ea typeface="+mn-ea"/>
                <a:cs typeface="+mn-cs"/>
              </a:rPr>
            </a:br>
            <a:endParaRPr kumimoji="0" lang="en-US" sz="2500" b="0" i="0" u="none" strike="noStrike" kern="0" cap="none" spc="0" normalizeH="0" baseline="0" noProof="0" dirty="0">
              <a:ln>
                <a:noFill/>
              </a:ln>
              <a:solidFill>
                <a:srgbClr val="000000"/>
              </a:solidFill>
              <a:effectLst/>
              <a:uLnTx/>
              <a:uFillTx/>
              <a:latin typeface="IBM Plex Sans ExtLt" panose="020B0303050203000203" pitchFamily="34" charset="0"/>
              <a:ea typeface="+mn-ea"/>
              <a:cs typeface="+mn-cs"/>
            </a:endParaRPr>
          </a:p>
        </p:txBody>
      </p:sp>
      <p:sp>
        <p:nvSpPr>
          <p:cNvPr id="61" name="Footer Placeholder 8">
            <a:extLst>
              <a:ext uri="{FF2B5EF4-FFF2-40B4-BE49-F238E27FC236}">
                <a16:creationId xmlns:a16="http://schemas.microsoft.com/office/drawing/2014/main" id="{7FBABBB9-0A5D-586E-9F98-D708D248CB56}"/>
              </a:ext>
            </a:extLst>
          </p:cNvPr>
          <p:cNvSpPr txBox="1">
            <a:spLocks/>
          </p:cNvSpPr>
          <p:nvPr/>
        </p:nvSpPr>
        <p:spPr>
          <a:xfrm>
            <a:off x="284824" y="6408380"/>
            <a:ext cx="2477765" cy="19050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2025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loudflight</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 IBM Corporation </a:t>
            </a:r>
          </a:p>
        </p:txBody>
      </p:sp>
    </p:spTree>
    <p:extLst>
      <p:ext uri="{BB962C8B-B14F-4D97-AF65-F5344CB8AC3E}">
        <p14:creationId xmlns:p14="http://schemas.microsoft.com/office/powerpoint/2010/main" val="2944189725"/>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2" name="Title 1"/>
          <p:cNvSpPr txBox="1"/>
          <p:nvPr/>
        </p:nvSpPr>
        <p:spPr>
          <a:xfrm>
            <a:off x="285677" y="229652"/>
            <a:ext cx="11904737" cy="46839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defTabSz="2438400">
              <a:defRPr sz="4400">
                <a:solidFill>
                  <a:srgbClr val="000000"/>
                </a:solidFill>
              </a:defRPr>
            </a:lvl1pPr>
          </a:lstStyle>
          <a:p>
            <a:pPr marL="0" marR="0" lvl="0" indent="0" algn="l" defTabSz="1218940" rtl="0" eaLnBrk="1" fontAlgn="auto" latinLnBrk="0" hangingPunct="0">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Transitioning to an Agentic future</a:t>
            </a:r>
            <a:endParaRPr kumimoji="0" sz="2400" b="0" i="0" u="none" strike="noStrike" kern="1200" cap="none" spc="0" normalizeH="0" baseline="0" noProof="0" dirty="0">
              <a:ln>
                <a:noFill/>
              </a:ln>
              <a:solidFill>
                <a:srgbClr val="000000"/>
              </a:solidFill>
              <a:effectLst/>
              <a:uLnTx/>
              <a:uFillTx/>
              <a:latin typeface="IBM Plex Sans Light"/>
              <a:ea typeface="+mn-ea"/>
              <a:cs typeface="+mn-cs"/>
              <a:sym typeface="IBM Plex Sans Light"/>
            </a:endParaRPr>
          </a:p>
        </p:txBody>
      </p:sp>
      <p:sp>
        <p:nvSpPr>
          <p:cNvPr id="39" name="TextBox 38">
            <a:extLst>
              <a:ext uri="{FF2B5EF4-FFF2-40B4-BE49-F238E27FC236}">
                <a16:creationId xmlns:a16="http://schemas.microsoft.com/office/drawing/2014/main" id="{F252AD49-B5CC-D90A-9037-09AE2F8A73D3}"/>
              </a:ext>
            </a:extLst>
          </p:cNvPr>
          <p:cNvSpPr txBox="1"/>
          <p:nvPr/>
        </p:nvSpPr>
        <p:spPr>
          <a:xfrm>
            <a:off x="11740588" y="-391334"/>
            <a:ext cx="184682" cy="73861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91416" tIns="91416" rIns="91416" bIns="91416"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8" name="Rectangle">
            <a:extLst>
              <a:ext uri="{FF2B5EF4-FFF2-40B4-BE49-F238E27FC236}">
                <a16:creationId xmlns:a16="http://schemas.microsoft.com/office/drawing/2014/main" id="{D4C7C816-C5AD-8867-EAC7-3AA894763B09}"/>
              </a:ext>
            </a:extLst>
          </p:cNvPr>
          <p:cNvSpPr/>
          <p:nvPr/>
        </p:nvSpPr>
        <p:spPr>
          <a:xfrm>
            <a:off x="4302815" y="933261"/>
            <a:ext cx="3382400" cy="432652"/>
          </a:xfrm>
          <a:prstGeom prst="roundRect">
            <a:avLst>
              <a:gd name="adj" fmla="val 50000"/>
            </a:avLst>
          </a:prstGeom>
          <a:solidFill>
            <a:srgbClr val="0E61FF"/>
          </a:solidFill>
          <a:ln w="38100">
            <a:solidFill>
              <a:schemeClr val="bg1"/>
            </a:solidFill>
            <a:miter lim="400000"/>
          </a:ln>
          <a:effectLst/>
        </p:spPr>
        <p:txBody>
          <a:bodyPr lIns="91371" tIns="91371" rIns="91371" bIns="91371" anchor="ctr"/>
          <a:lstStyle/>
          <a:p>
            <a:pPr marL="0" marR="0" lvl="0" indent="0" algn="ctr" defTabSz="304675" rtl="0" eaLnBrk="1" fontAlgn="auto" latinLnBrk="0" hangingPunct="1">
              <a:lnSpc>
                <a:spcPct val="100000"/>
              </a:lnSpc>
              <a:spcBef>
                <a:spcPts val="2525"/>
              </a:spcBef>
              <a:spcAft>
                <a:spcPts val="0"/>
              </a:spcAft>
              <a:buClrTx/>
              <a:buSzTx/>
              <a:buFontTx/>
              <a:buNone/>
              <a:tabLst/>
              <a:defRPr sz="4200">
                <a:solidFill>
                  <a:srgbClr val="000000">
                    <a:lumOff val="100000"/>
                  </a:srgbClr>
                </a:solidFill>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sym typeface="IBM Plex Sans"/>
              </a:rPr>
              <a:t>LLM Agents</a:t>
            </a:r>
          </a:p>
        </p:txBody>
      </p:sp>
      <p:grpSp>
        <p:nvGrpSpPr>
          <p:cNvPr id="13030" name="Gruppieren 13029">
            <a:extLst>
              <a:ext uri="{FF2B5EF4-FFF2-40B4-BE49-F238E27FC236}">
                <a16:creationId xmlns:a16="http://schemas.microsoft.com/office/drawing/2014/main" id="{6569AB6F-1276-D2C1-3CF3-E747442B7B53}"/>
              </a:ext>
            </a:extLst>
          </p:cNvPr>
          <p:cNvGrpSpPr/>
          <p:nvPr/>
        </p:nvGrpSpPr>
        <p:grpSpPr>
          <a:xfrm>
            <a:off x="4198221" y="1679015"/>
            <a:ext cx="3791466" cy="3247736"/>
            <a:chOff x="9655742" y="3357572"/>
            <a:chExt cx="6098812" cy="5224190"/>
          </a:xfrm>
        </p:grpSpPr>
        <p:pic>
          <p:nvPicPr>
            <p:cNvPr id="3" name="Picture 1">
              <a:extLst>
                <a:ext uri="{FF2B5EF4-FFF2-40B4-BE49-F238E27FC236}">
                  <a16:creationId xmlns:a16="http://schemas.microsoft.com/office/drawing/2014/main" id="{94820151-9469-1848-9300-D44E05BC6DA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3575" y="3364074"/>
              <a:ext cx="653688" cy="65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Arrow Connector 3">
              <a:extLst>
                <a:ext uri="{FF2B5EF4-FFF2-40B4-BE49-F238E27FC236}">
                  <a16:creationId xmlns:a16="http://schemas.microsoft.com/office/drawing/2014/main" id="{132C2614-D872-5CFF-9369-6D6B48E0EADD}"/>
                </a:ext>
              </a:extLst>
            </p:cNvPr>
            <p:cNvCxnSpPr>
              <a:cxnSpLocks/>
            </p:cNvCxnSpPr>
            <p:nvPr/>
          </p:nvCxnSpPr>
          <p:spPr bwMode="auto">
            <a:xfrm>
              <a:off x="10250988" y="4194209"/>
              <a:ext cx="0" cy="839363"/>
            </a:xfrm>
            <a:prstGeom prst="straightConnector1">
              <a:avLst/>
            </a:prstGeom>
            <a:ln w="9525">
              <a:solidFill>
                <a:schemeClr val="tx1"/>
              </a:solidFill>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52A9426A-A0EE-7CED-8CA9-E0F257889C37}"/>
                </a:ext>
              </a:extLst>
            </p:cNvPr>
            <p:cNvSpPr txBox="1"/>
            <p:nvPr/>
          </p:nvSpPr>
          <p:spPr>
            <a:xfrm>
              <a:off x="9655742" y="5913259"/>
              <a:ext cx="948899" cy="2475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LLM Agent</a:t>
              </a:r>
            </a:p>
          </p:txBody>
        </p:sp>
        <p:sp>
          <p:nvSpPr>
            <p:cNvPr id="10" name="Rounded Rectangle 9">
              <a:extLst>
                <a:ext uri="{FF2B5EF4-FFF2-40B4-BE49-F238E27FC236}">
                  <a16:creationId xmlns:a16="http://schemas.microsoft.com/office/drawing/2014/main" id="{647BEFD6-BA99-D0FA-169E-574006E70F55}"/>
                </a:ext>
              </a:extLst>
            </p:cNvPr>
            <p:cNvSpPr/>
            <p:nvPr/>
          </p:nvSpPr>
          <p:spPr bwMode="auto">
            <a:xfrm>
              <a:off x="11490596" y="6120517"/>
              <a:ext cx="653688" cy="2461245"/>
            </a:xfrm>
            <a:prstGeom prst="roundRect">
              <a:avLst>
                <a:gd name="adj" fmla="val 50000"/>
              </a:avLst>
            </a:prstGeom>
            <a:solidFill>
              <a:schemeClr val="accent1">
                <a:lumMod val="20000"/>
                <a:lumOff val="80000"/>
              </a:schemeClr>
            </a:solidFill>
            <a:ln w="6350">
              <a:solidFill>
                <a:schemeClr val="tx1">
                  <a:lumMod val="50000"/>
                  <a:lumOff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marL="0" marR="0" lvl="0" indent="0" algn="l" defTabSz="91420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1" name="Oval 10">
              <a:extLst>
                <a:ext uri="{FF2B5EF4-FFF2-40B4-BE49-F238E27FC236}">
                  <a16:creationId xmlns:a16="http://schemas.microsoft.com/office/drawing/2014/main" id="{DFF26830-60A4-100F-A0F2-DB336DBA296F}"/>
                </a:ext>
              </a:extLst>
            </p:cNvPr>
            <p:cNvSpPr/>
            <p:nvPr/>
          </p:nvSpPr>
          <p:spPr bwMode="auto">
            <a:xfrm>
              <a:off x="11650854" y="6271443"/>
              <a:ext cx="323233" cy="323233"/>
            </a:xfrm>
            <a:prstGeom prst="ellipse">
              <a:avLst/>
            </a:prstGeom>
            <a:solidFill>
              <a:srgbClr val="393939"/>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Light"/>
                  <a:ea typeface="+mn-ea"/>
                  <a:cs typeface="+mn-cs"/>
                </a:rPr>
                <a:t>1</a:t>
              </a:r>
            </a:p>
          </p:txBody>
        </p:sp>
        <p:sp>
          <p:nvSpPr>
            <p:cNvPr id="12" name="Oval 11">
              <a:extLst>
                <a:ext uri="{FF2B5EF4-FFF2-40B4-BE49-F238E27FC236}">
                  <a16:creationId xmlns:a16="http://schemas.microsoft.com/office/drawing/2014/main" id="{3FCD93F5-8A74-BECA-D86A-4C5D1E0DE618}"/>
                </a:ext>
              </a:extLst>
            </p:cNvPr>
            <p:cNvSpPr/>
            <p:nvPr/>
          </p:nvSpPr>
          <p:spPr bwMode="auto">
            <a:xfrm>
              <a:off x="11650854" y="6904035"/>
              <a:ext cx="323233" cy="323233"/>
            </a:xfrm>
            <a:prstGeom prst="ellipse">
              <a:avLst/>
            </a:prstGeom>
            <a:solidFill>
              <a:srgbClr val="393939"/>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Light"/>
                  <a:ea typeface="+mn-ea"/>
                  <a:cs typeface="+mn-cs"/>
                </a:rPr>
                <a:t>2</a:t>
              </a:r>
            </a:p>
          </p:txBody>
        </p:sp>
        <p:sp>
          <p:nvSpPr>
            <p:cNvPr id="13" name="Oval 12">
              <a:extLst>
                <a:ext uri="{FF2B5EF4-FFF2-40B4-BE49-F238E27FC236}">
                  <a16:creationId xmlns:a16="http://schemas.microsoft.com/office/drawing/2014/main" id="{2DF26EB3-71FC-9F27-0581-16256F9A4487}"/>
                </a:ext>
              </a:extLst>
            </p:cNvPr>
            <p:cNvSpPr/>
            <p:nvPr/>
          </p:nvSpPr>
          <p:spPr bwMode="auto">
            <a:xfrm>
              <a:off x="11650854" y="7536630"/>
              <a:ext cx="323233" cy="323233"/>
            </a:xfrm>
            <a:prstGeom prst="ellipse">
              <a:avLst/>
            </a:prstGeom>
            <a:solidFill>
              <a:srgbClr val="393939"/>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Light"/>
                  <a:ea typeface="+mn-ea"/>
                  <a:cs typeface="+mn-cs"/>
                </a:rPr>
                <a:t>3</a:t>
              </a:r>
            </a:p>
          </p:txBody>
        </p:sp>
        <p:sp>
          <p:nvSpPr>
            <p:cNvPr id="14" name="Oval 13">
              <a:extLst>
                <a:ext uri="{FF2B5EF4-FFF2-40B4-BE49-F238E27FC236}">
                  <a16:creationId xmlns:a16="http://schemas.microsoft.com/office/drawing/2014/main" id="{65F1A10B-6BA1-F80B-60E4-7B483C7DD7D0}"/>
                </a:ext>
              </a:extLst>
            </p:cNvPr>
            <p:cNvSpPr/>
            <p:nvPr/>
          </p:nvSpPr>
          <p:spPr bwMode="auto">
            <a:xfrm>
              <a:off x="11650854" y="8169223"/>
              <a:ext cx="323233" cy="323233"/>
            </a:xfrm>
            <a:prstGeom prst="ellipse">
              <a:avLst/>
            </a:prstGeom>
            <a:solidFill>
              <a:srgbClr val="393939"/>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Light"/>
                  <a:ea typeface="+mn-ea"/>
                  <a:cs typeface="+mn-cs"/>
                </a:rPr>
                <a:t>4</a:t>
              </a:r>
            </a:p>
          </p:txBody>
        </p:sp>
        <p:cxnSp>
          <p:nvCxnSpPr>
            <p:cNvPr id="16" name="Straight Arrow Connector 15">
              <a:extLst>
                <a:ext uri="{FF2B5EF4-FFF2-40B4-BE49-F238E27FC236}">
                  <a16:creationId xmlns:a16="http://schemas.microsoft.com/office/drawing/2014/main" id="{C4FCE9E8-4DBB-E46E-2A6A-DA00DD5AD4BF}"/>
                </a:ext>
              </a:extLst>
            </p:cNvPr>
            <p:cNvCxnSpPr>
              <a:cxnSpLocks/>
            </p:cNvCxnSpPr>
            <p:nvPr/>
          </p:nvCxnSpPr>
          <p:spPr bwMode="auto">
            <a:xfrm>
              <a:off x="11807463" y="6631403"/>
              <a:ext cx="5007" cy="23590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8F5A49E0-56A5-24F9-3EF5-495DF08057A3}"/>
                </a:ext>
              </a:extLst>
            </p:cNvPr>
            <p:cNvCxnSpPr>
              <a:cxnSpLocks/>
            </p:cNvCxnSpPr>
            <p:nvPr/>
          </p:nvCxnSpPr>
          <p:spPr bwMode="auto">
            <a:xfrm>
              <a:off x="11807463" y="7263997"/>
              <a:ext cx="5007" cy="23590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B9B77BCC-9ABF-973D-A4C8-8D011F3508C5}"/>
                </a:ext>
              </a:extLst>
            </p:cNvPr>
            <p:cNvCxnSpPr>
              <a:cxnSpLocks/>
            </p:cNvCxnSpPr>
            <p:nvPr/>
          </p:nvCxnSpPr>
          <p:spPr bwMode="auto">
            <a:xfrm>
              <a:off x="11807463" y="7896590"/>
              <a:ext cx="5007" cy="23590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D3DD3138-7750-D5FE-E2C9-E88E1BC9FDDD}"/>
                </a:ext>
              </a:extLst>
            </p:cNvPr>
            <p:cNvCxnSpPr>
              <a:cxnSpLocks/>
            </p:cNvCxnSpPr>
            <p:nvPr/>
          </p:nvCxnSpPr>
          <p:spPr bwMode="auto">
            <a:xfrm flipV="1">
              <a:off x="12009173" y="6409972"/>
              <a:ext cx="411999" cy="461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2967E866-E1DC-66B9-F5D6-2D6C0E91AA5A}"/>
                </a:ext>
              </a:extLst>
            </p:cNvPr>
            <p:cNvCxnSpPr>
              <a:cxnSpLocks/>
            </p:cNvCxnSpPr>
            <p:nvPr/>
          </p:nvCxnSpPr>
          <p:spPr bwMode="auto">
            <a:xfrm flipV="1">
              <a:off x="12009173" y="7058727"/>
              <a:ext cx="411999" cy="461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BD3B6E17-DEB2-078F-1953-277F72336F9C}"/>
                </a:ext>
              </a:extLst>
            </p:cNvPr>
            <p:cNvCxnSpPr>
              <a:cxnSpLocks/>
            </p:cNvCxnSpPr>
            <p:nvPr/>
          </p:nvCxnSpPr>
          <p:spPr bwMode="auto">
            <a:xfrm flipV="1">
              <a:off x="12009173" y="7707470"/>
              <a:ext cx="411999" cy="461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25" name="Picture 24">
              <a:extLst>
                <a:ext uri="{FF2B5EF4-FFF2-40B4-BE49-F238E27FC236}">
                  <a16:creationId xmlns:a16="http://schemas.microsoft.com/office/drawing/2014/main" id="{4A9EBCE2-9DA7-4D9C-47BD-2DE674FC4BBA}"/>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12434368" y="6755005"/>
              <a:ext cx="526017" cy="526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F5D4827A-09A4-AA34-25C6-137F198DD32D}"/>
                </a:ext>
              </a:extLst>
            </p:cNvPr>
            <p:cNvSpPr txBox="1"/>
            <p:nvPr/>
          </p:nvSpPr>
          <p:spPr>
            <a:xfrm>
              <a:off x="13111558" y="6244064"/>
              <a:ext cx="2642996" cy="2475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Tool A (</a:t>
              </a:r>
              <a:r>
                <a:rPr kumimoji="0" lang="en-US" sz="1000" b="0" i="0" u="none" strike="noStrike" kern="1200" cap="none" spc="0" normalizeH="0" baseline="0" noProof="0" dirty="0" err="1">
                  <a:ln>
                    <a:noFill/>
                  </a:ln>
                  <a:solidFill>
                    <a:srgbClr val="000000"/>
                  </a:solidFill>
                  <a:effectLst/>
                  <a:uLnTx/>
                  <a:uFillTx/>
                  <a:latin typeface="IBM Plex Sans Light"/>
                  <a:ea typeface="+mn-ea"/>
                  <a:cs typeface="+mn-cs"/>
                  <a:sym typeface="IBM Plex Sans Light"/>
                </a:rPr>
                <a:t>eg.</a:t>
              </a: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 finance database)</a:t>
              </a:r>
            </a:p>
          </p:txBody>
        </p:sp>
        <p:sp>
          <p:nvSpPr>
            <p:cNvPr id="27" name="TextBox 26">
              <a:extLst>
                <a:ext uri="{FF2B5EF4-FFF2-40B4-BE49-F238E27FC236}">
                  <a16:creationId xmlns:a16="http://schemas.microsoft.com/office/drawing/2014/main" id="{7A3C8B32-69EF-2BB5-181C-BC4F678B483C}"/>
                </a:ext>
              </a:extLst>
            </p:cNvPr>
            <p:cNvSpPr txBox="1"/>
            <p:nvPr/>
          </p:nvSpPr>
          <p:spPr>
            <a:xfrm>
              <a:off x="13111560" y="6865410"/>
              <a:ext cx="1673467" cy="2475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Knowledge search</a:t>
              </a:r>
            </a:p>
          </p:txBody>
        </p:sp>
        <p:sp>
          <p:nvSpPr>
            <p:cNvPr id="28" name="TextBox 27">
              <a:extLst>
                <a:ext uri="{FF2B5EF4-FFF2-40B4-BE49-F238E27FC236}">
                  <a16:creationId xmlns:a16="http://schemas.microsoft.com/office/drawing/2014/main" id="{2CC0FEA9-A8D6-2710-C6F7-02A2FEC1214E}"/>
                </a:ext>
              </a:extLst>
            </p:cNvPr>
            <p:cNvSpPr txBox="1"/>
            <p:nvPr/>
          </p:nvSpPr>
          <p:spPr>
            <a:xfrm>
              <a:off x="13111563" y="7530295"/>
              <a:ext cx="2214959" cy="2475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Tool B (</a:t>
              </a:r>
              <a:r>
                <a:rPr kumimoji="0" lang="en-US" sz="1000" b="0" i="0" u="none" strike="noStrike" kern="1200" cap="none" spc="0" normalizeH="0" baseline="0" noProof="0" dirty="0" err="1">
                  <a:ln>
                    <a:noFill/>
                  </a:ln>
                  <a:solidFill>
                    <a:srgbClr val="000000"/>
                  </a:solidFill>
                  <a:effectLst/>
                  <a:uLnTx/>
                  <a:uFillTx/>
                  <a:latin typeface="IBM Plex Sans Light"/>
                  <a:ea typeface="+mn-ea"/>
                  <a:cs typeface="+mn-cs"/>
                  <a:sym typeface="IBM Plex Sans Light"/>
                </a:rPr>
                <a:t>eg.</a:t>
              </a: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 CRM system)</a:t>
              </a:r>
            </a:p>
          </p:txBody>
        </p:sp>
        <p:sp>
          <p:nvSpPr>
            <p:cNvPr id="31" name="TextBox 30">
              <a:extLst>
                <a:ext uri="{FF2B5EF4-FFF2-40B4-BE49-F238E27FC236}">
                  <a16:creationId xmlns:a16="http://schemas.microsoft.com/office/drawing/2014/main" id="{892241FA-1BAB-A8AE-DC20-1FEF6592B1DB}"/>
                </a:ext>
              </a:extLst>
            </p:cNvPr>
            <p:cNvSpPr txBox="1"/>
            <p:nvPr/>
          </p:nvSpPr>
          <p:spPr>
            <a:xfrm>
              <a:off x="13111559" y="8057735"/>
              <a:ext cx="1554855" cy="4950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Self reflect, </a:t>
              </a:r>
              <a:b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b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Human feedback</a:t>
              </a:r>
            </a:p>
          </p:txBody>
        </p:sp>
        <p:cxnSp>
          <p:nvCxnSpPr>
            <p:cNvPr id="38" name="Straight Arrow Connector 37">
              <a:extLst>
                <a:ext uri="{FF2B5EF4-FFF2-40B4-BE49-F238E27FC236}">
                  <a16:creationId xmlns:a16="http://schemas.microsoft.com/office/drawing/2014/main" id="{D5869C72-4D67-51E9-4665-B50609AC8328}"/>
                </a:ext>
              </a:extLst>
            </p:cNvPr>
            <p:cNvCxnSpPr>
              <a:cxnSpLocks/>
            </p:cNvCxnSpPr>
            <p:nvPr/>
          </p:nvCxnSpPr>
          <p:spPr bwMode="auto">
            <a:xfrm>
              <a:off x="10737568" y="5388805"/>
              <a:ext cx="601047" cy="0"/>
            </a:xfrm>
            <a:prstGeom prst="straightConnector1">
              <a:avLst/>
            </a:prstGeom>
            <a:ln w="9525">
              <a:solidFill>
                <a:schemeClr val="tx1"/>
              </a:solidFill>
              <a:headEnd type="none" w="med" len="med"/>
              <a:tailEnd type="triangle" w="med" len="med"/>
            </a:ln>
            <a:effectLst/>
          </p:spPr>
          <p:style>
            <a:lnRef idx="1">
              <a:schemeClr val="dk1"/>
            </a:lnRef>
            <a:fillRef idx="0">
              <a:schemeClr val="dk1"/>
            </a:fillRef>
            <a:effectRef idx="0">
              <a:schemeClr val="dk1"/>
            </a:effectRef>
            <a:fontRef idx="minor">
              <a:schemeClr val="tx1"/>
            </a:fontRef>
          </p:style>
        </p:cxnSp>
        <p:pic>
          <p:nvPicPr>
            <p:cNvPr id="40" name="Picture 2">
              <a:extLst>
                <a:ext uri="{FF2B5EF4-FFF2-40B4-BE49-F238E27FC236}">
                  <a16:creationId xmlns:a16="http://schemas.microsoft.com/office/drawing/2014/main" id="{E461B491-740E-46F9-E275-2CEBD30FB5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82488" y="5130691"/>
              <a:ext cx="571966" cy="57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TextBox 40">
              <a:extLst>
                <a:ext uri="{FF2B5EF4-FFF2-40B4-BE49-F238E27FC236}">
                  <a16:creationId xmlns:a16="http://schemas.microsoft.com/office/drawing/2014/main" id="{0460E93D-3337-AAB0-3447-5E5E8DCBAF42}"/>
                </a:ext>
              </a:extLst>
            </p:cNvPr>
            <p:cNvSpPr txBox="1"/>
            <p:nvPr/>
          </p:nvSpPr>
          <p:spPr>
            <a:xfrm>
              <a:off x="12268737" y="5228690"/>
              <a:ext cx="2116975" cy="2475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Plan / Execute / Reflect</a:t>
              </a:r>
            </a:p>
          </p:txBody>
        </p:sp>
        <p:pic>
          <p:nvPicPr>
            <p:cNvPr id="42" name="Picture 8" descr="api Icon 719165">
              <a:extLst>
                <a:ext uri="{FF2B5EF4-FFF2-40B4-BE49-F238E27FC236}">
                  <a16:creationId xmlns:a16="http://schemas.microsoft.com/office/drawing/2014/main" id="{FA7520D9-21AE-6183-6E6A-5CFBA200CEF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062" t="37516" r="13071" b="25923"/>
            <a:stretch/>
          </p:blipFill>
          <p:spPr bwMode="auto">
            <a:xfrm>
              <a:off x="12453658" y="6236095"/>
              <a:ext cx="611629" cy="30688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api Icon 719165">
              <a:extLst>
                <a:ext uri="{FF2B5EF4-FFF2-40B4-BE49-F238E27FC236}">
                  <a16:creationId xmlns:a16="http://schemas.microsoft.com/office/drawing/2014/main" id="{5B199BE2-A31F-0E6C-8E25-8E95A28D4BC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062" t="37516" r="13071" b="25923"/>
            <a:stretch/>
          </p:blipFill>
          <p:spPr bwMode="auto">
            <a:xfrm>
              <a:off x="12453658" y="7539516"/>
              <a:ext cx="611629" cy="306883"/>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Arrow Connector 45">
              <a:extLst>
                <a:ext uri="{FF2B5EF4-FFF2-40B4-BE49-F238E27FC236}">
                  <a16:creationId xmlns:a16="http://schemas.microsoft.com/office/drawing/2014/main" id="{2510B325-90D5-07F4-37CA-E4DA9B25CEB1}"/>
                </a:ext>
              </a:extLst>
            </p:cNvPr>
            <p:cNvCxnSpPr>
              <a:cxnSpLocks/>
            </p:cNvCxnSpPr>
            <p:nvPr/>
          </p:nvCxnSpPr>
          <p:spPr bwMode="auto">
            <a:xfrm>
              <a:off x="11806122" y="5729132"/>
              <a:ext cx="4970" cy="321542"/>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sp>
          <p:nvSpPr>
            <p:cNvPr id="53" name="Left Bracket 52">
              <a:extLst>
                <a:ext uri="{FF2B5EF4-FFF2-40B4-BE49-F238E27FC236}">
                  <a16:creationId xmlns:a16="http://schemas.microsoft.com/office/drawing/2014/main" id="{D467191C-9EEC-A117-65A1-ED5B27EE3F8D}"/>
                </a:ext>
              </a:extLst>
            </p:cNvPr>
            <p:cNvSpPr/>
            <p:nvPr/>
          </p:nvSpPr>
          <p:spPr bwMode="auto">
            <a:xfrm>
              <a:off x="11107972" y="5702660"/>
              <a:ext cx="259739" cy="2637137"/>
            </a:xfrm>
            <a:prstGeom prst="leftBracket">
              <a:avLst>
                <a:gd name="adj" fmla="val 109496"/>
              </a:avLst>
            </a:prstGeom>
            <a:ln w="12700">
              <a:solidFill>
                <a:schemeClr val="tx1"/>
              </a:solidFill>
              <a:headEnd type="none" w="med" len="med"/>
              <a:tailEnd type="triangle" w="med" len="med"/>
            </a:ln>
            <a:effectLst/>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206"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55" name="Picture 54">
              <a:extLst>
                <a:ext uri="{FF2B5EF4-FFF2-40B4-BE49-F238E27FC236}">
                  <a16:creationId xmlns:a16="http://schemas.microsoft.com/office/drawing/2014/main" id="{8E7AF986-993B-4B8E-387A-18AA559B246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593401" y="8149116"/>
              <a:ext cx="347960" cy="347960"/>
            </a:xfrm>
            <a:prstGeom prst="rect">
              <a:avLst/>
            </a:prstGeom>
          </p:spPr>
        </p:pic>
        <p:cxnSp>
          <p:nvCxnSpPr>
            <p:cNvPr id="62" name="Straight Arrow Connector 61">
              <a:extLst>
                <a:ext uri="{FF2B5EF4-FFF2-40B4-BE49-F238E27FC236}">
                  <a16:creationId xmlns:a16="http://schemas.microsoft.com/office/drawing/2014/main" id="{A7A5D731-B4C5-6446-481B-F140B15693F7}"/>
                </a:ext>
              </a:extLst>
            </p:cNvPr>
            <p:cNvCxnSpPr>
              <a:cxnSpLocks/>
            </p:cNvCxnSpPr>
            <p:nvPr/>
          </p:nvCxnSpPr>
          <p:spPr bwMode="auto">
            <a:xfrm flipV="1">
              <a:off x="12009173" y="8320787"/>
              <a:ext cx="411999" cy="4618"/>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13025" name="Picture 13024" descr="A black background with a black square&#10;&#10;Description automatically generated with medium confidence">
              <a:extLst>
                <a:ext uri="{FF2B5EF4-FFF2-40B4-BE49-F238E27FC236}">
                  <a16:creationId xmlns:a16="http://schemas.microsoft.com/office/drawing/2014/main" id="{9C154075-32BA-F75A-7501-1F628DB13452}"/>
                </a:ext>
              </a:extLst>
            </p:cNvPr>
            <p:cNvPicPr>
              <a:picLocks noChangeAspect="1"/>
            </p:cNvPicPr>
            <p:nvPr/>
          </p:nvPicPr>
          <p:blipFill rotWithShape="1">
            <a:blip r:embed="rId8"/>
            <a:srcRect l="17716" t="3337" r="18328" b="39914"/>
            <a:stretch/>
          </p:blipFill>
          <p:spPr>
            <a:xfrm>
              <a:off x="9900943" y="5194581"/>
              <a:ext cx="759858" cy="674237"/>
            </a:xfrm>
            <a:prstGeom prst="rect">
              <a:avLst/>
            </a:prstGeom>
          </p:spPr>
        </p:pic>
        <p:sp>
          <p:nvSpPr>
            <p:cNvPr id="19" name="TextBox 18">
              <a:extLst>
                <a:ext uri="{FF2B5EF4-FFF2-40B4-BE49-F238E27FC236}">
                  <a16:creationId xmlns:a16="http://schemas.microsoft.com/office/drawing/2014/main" id="{378D67C4-D98F-1384-BFE5-6BC2C5DF25DE}"/>
                </a:ext>
              </a:extLst>
            </p:cNvPr>
            <p:cNvSpPr txBox="1"/>
            <p:nvPr/>
          </p:nvSpPr>
          <p:spPr>
            <a:xfrm>
              <a:off x="11085225" y="3357572"/>
              <a:ext cx="3137148" cy="1039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marL="0" marR="0" lvl="0" indent="0" algn="l" defTabSz="2437882" rtl="0" eaLnBrk="1" fontAlgn="auto" latinLnBrk="0" hangingPunct="1">
                <a:lnSpc>
                  <a:spcPct val="100000"/>
                </a:lnSpc>
                <a:spcBef>
                  <a:spcPts val="1200"/>
                </a:spcBef>
                <a:spcAft>
                  <a:spcPts val="0"/>
                </a:spcAft>
                <a:buClrTx/>
                <a:buSzPct val="100000"/>
                <a:buFontTx/>
                <a:buNone/>
                <a:tabLst/>
                <a:defRPr/>
              </a:pP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sym typeface="IBM Plex Sans Light"/>
                </a:rPr>
                <a:t>“Compare our earnings with competitors and summarize in an email”</a:t>
              </a:r>
            </a:p>
          </p:txBody>
        </p:sp>
      </p:grpSp>
      <p:sp>
        <p:nvSpPr>
          <p:cNvPr id="32" name="Rectangle">
            <a:extLst>
              <a:ext uri="{FF2B5EF4-FFF2-40B4-BE49-F238E27FC236}">
                <a16:creationId xmlns:a16="http://schemas.microsoft.com/office/drawing/2014/main" id="{621F2F61-EB11-6AE0-B5C8-7BA423642E6C}"/>
              </a:ext>
            </a:extLst>
          </p:cNvPr>
          <p:cNvSpPr/>
          <p:nvPr/>
        </p:nvSpPr>
        <p:spPr>
          <a:xfrm>
            <a:off x="8461440" y="933262"/>
            <a:ext cx="3382400" cy="432652"/>
          </a:xfrm>
          <a:prstGeom prst="roundRect">
            <a:avLst>
              <a:gd name="adj" fmla="val 50000"/>
            </a:avLst>
          </a:prstGeom>
          <a:solidFill>
            <a:srgbClr val="0E61FF"/>
          </a:solidFill>
          <a:ln w="38100">
            <a:solidFill>
              <a:schemeClr val="bg1"/>
            </a:solidFill>
            <a:miter lim="400000"/>
          </a:ln>
          <a:effectLst/>
        </p:spPr>
        <p:txBody>
          <a:bodyPr lIns="91371" tIns="91371" rIns="91371" bIns="91371" anchor="ctr"/>
          <a:lstStyle/>
          <a:p>
            <a:pPr marL="0" marR="0" lvl="0" indent="0" algn="ctr" defTabSz="304675" rtl="0" eaLnBrk="1" fontAlgn="auto" latinLnBrk="0" hangingPunct="1">
              <a:lnSpc>
                <a:spcPct val="100000"/>
              </a:lnSpc>
              <a:spcBef>
                <a:spcPts val="2525"/>
              </a:spcBef>
              <a:spcAft>
                <a:spcPts val="0"/>
              </a:spcAft>
              <a:buClrTx/>
              <a:buSzTx/>
              <a:buFontTx/>
              <a:buNone/>
              <a:tabLst/>
              <a:defRPr sz="4200">
                <a:solidFill>
                  <a:srgbClr val="000000">
                    <a:lumOff val="100000"/>
                  </a:srgbClr>
                </a:solidFill>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sym typeface="IBM Plex Sans"/>
              </a:rPr>
              <a:t>Multi Agent orchestration</a:t>
            </a:r>
          </a:p>
        </p:txBody>
      </p:sp>
      <p:grpSp>
        <p:nvGrpSpPr>
          <p:cNvPr id="13031" name="Gruppieren 13030">
            <a:extLst>
              <a:ext uri="{FF2B5EF4-FFF2-40B4-BE49-F238E27FC236}">
                <a16:creationId xmlns:a16="http://schemas.microsoft.com/office/drawing/2014/main" id="{72CA2E8C-52CC-A451-8722-4F3285C9FEA8}"/>
              </a:ext>
            </a:extLst>
          </p:cNvPr>
          <p:cNvGrpSpPr/>
          <p:nvPr/>
        </p:nvGrpSpPr>
        <p:grpSpPr>
          <a:xfrm>
            <a:off x="8592371" y="1679015"/>
            <a:ext cx="3141011" cy="3234055"/>
            <a:chOff x="18009617" y="3357573"/>
            <a:chExt cx="4956495" cy="5103316"/>
          </a:xfrm>
        </p:grpSpPr>
        <p:pic>
          <p:nvPicPr>
            <p:cNvPr id="13000" name="Picture 1">
              <a:extLst>
                <a:ext uri="{FF2B5EF4-FFF2-40B4-BE49-F238E27FC236}">
                  <a16:creationId xmlns:a16="http://schemas.microsoft.com/office/drawing/2014/main" id="{5351D72A-BD47-9631-9697-BF5B8A5CED5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153826" y="3364075"/>
              <a:ext cx="653688" cy="65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005" name="Straight Arrow Connector 13004">
              <a:extLst>
                <a:ext uri="{FF2B5EF4-FFF2-40B4-BE49-F238E27FC236}">
                  <a16:creationId xmlns:a16="http://schemas.microsoft.com/office/drawing/2014/main" id="{09F5FC19-FAB6-B609-AAFA-9F65C3BC417D}"/>
                </a:ext>
              </a:extLst>
            </p:cNvPr>
            <p:cNvCxnSpPr>
              <a:cxnSpLocks/>
            </p:cNvCxnSpPr>
            <p:nvPr/>
          </p:nvCxnSpPr>
          <p:spPr bwMode="auto">
            <a:xfrm>
              <a:off x="18451239" y="4194210"/>
              <a:ext cx="0" cy="839363"/>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pic>
          <p:nvPicPr>
            <p:cNvPr id="13008" name="Picture 2">
              <a:extLst>
                <a:ext uri="{FF2B5EF4-FFF2-40B4-BE49-F238E27FC236}">
                  <a16:creationId xmlns:a16="http://schemas.microsoft.com/office/drawing/2014/main" id="{313D5143-F798-00F8-CD4F-4FACFF8AD1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82739" y="5130692"/>
              <a:ext cx="571966" cy="57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015" name="Straight Arrow Connector 13014">
              <a:extLst>
                <a:ext uri="{FF2B5EF4-FFF2-40B4-BE49-F238E27FC236}">
                  <a16:creationId xmlns:a16="http://schemas.microsoft.com/office/drawing/2014/main" id="{5DF43F18-1CAE-AE75-04B0-4A8BE811FFFF}"/>
                </a:ext>
              </a:extLst>
            </p:cNvPr>
            <p:cNvCxnSpPr>
              <a:cxnSpLocks/>
            </p:cNvCxnSpPr>
            <p:nvPr/>
          </p:nvCxnSpPr>
          <p:spPr bwMode="auto">
            <a:xfrm>
              <a:off x="18971636" y="5388807"/>
              <a:ext cx="601047" cy="0"/>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3016" name="Straight Arrow Connector 13015">
              <a:extLst>
                <a:ext uri="{FF2B5EF4-FFF2-40B4-BE49-F238E27FC236}">
                  <a16:creationId xmlns:a16="http://schemas.microsoft.com/office/drawing/2014/main" id="{342A1EF5-FFA1-2D7B-74A6-4BFBCAC19D92}"/>
                </a:ext>
              </a:extLst>
            </p:cNvPr>
            <p:cNvCxnSpPr>
              <a:cxnSpLocks/>
            </p:cNvCxnSpPr>
            <p:nvPr/>
          </p:nvCxnSpPr>
          <p:spPr bwMode="auto">
            <a:xfrm>
              <a:off x="20318218" y="5745879"/>
              <a:ext cx="1394432" cy="683887"/>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3018" name="Straight Arrow Connector 13017">
              <a:extLst>
                <a:ext uri="{FF2B5EF4-FFF2-40B4-BE49-F238E27FC236}">
                  <a16:creationId xmlns:a16="http://schemas.microsoft.com/office/drawing/2014/main" id="{13679140-6FFE-1CBC-C7E7-823BB393F7CF}"/>
                </a:ext>
              </a:extLst>
            </p:cNvPr>
            <p:cNvCxnSpPr>
              <a:cxnSpLocks/>
            </p:cNvCxnSpPr>
            <p:nvPr/>
          </p:nvCxnSpPr>
          <p:spPr bwMode="auto">
            <a:xfrm flipH="1">
              <a:off x="19493288" y="5930671"/>
              <a:ext cx="319723" cy="862413"/>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3019" name="Straight Arrow Connector 13018">
              <a:extLst>
                <a:ext uri="{FF2B5EF4-FFF2-40B4-BE49-F238E27FC236}">
                  <a16:creationId xmlns:a16="http://schemas.microsoft.com/office/drawing/2014/main" id="{FF943D97-8BDA-1B42-507D-6D50F0EC5883}"/>
                </a:ext>
              </a:extLst>
            </p:cNvPr>
            <p:cNvCxnSpPr>
              <a:cxnSpLocks/>
            </p:cNvCxnSpPr>
            <p:nvPr/>
          </p:nvCxnSpPr>
          <p:spPr bwMode="auto">
            <a:xfrm>
              <a:off x="20092190" y="5874556"/>
              <a:ext cx="728489" cy="1298591"/>
            </a:xfrm>
            <a:prstGeom prst="straightConnector1">
              <a:avLst/>
            </a:prstGeom>
            <a:ln w="9525">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pic>
          <p:nvPicPr>
            <p:cNvPr id="13028" name="Picture 13027" descr="A black background with a black square&#10;&#10;Description automatically generated with medium confidence">
              <a:extLst>
                <a:ext uri="{FF2B5EF4-FFF2-40B4-BE49-F238E27FC236}">
                  <a16:creationId xmlns:a16="http://schemas.microsoft.com/office/drawing/2014/main" id="{F4E63C35-8336-3918-9162-4236E6C969F3}"/>
                </a:ext>
              </a:extLst>
            </p:cNvPr>
            <p:cNvPicPr>
              <a:picLocks noChangeAspect="1"/>
            </p:cNvPicPr>
            <p:nvPr/>
          </p:nvPicPr>
          <p:blipFill rotWithShape="1">
            <a:blip r:embed="rId8"/>
            <a:srcRect l="17716" t="3337" r="18328" b="39914"/>
            <a:stretch/>
          </p:blipFill>
          <p:spPr>
            <a:xfrm>
              <a:off x="21878007" y="6074407"/>
              <a:ext cx="759858" cy="674237"/>
            </a:xfrm>
            <a:prstGeom prst="rect">
              <a:avLst/>
            </a:prstGeom>
          </p:spPr>
        </p:pic>
        <p:pic>
          <p:nvPicPr>
            <p:cNvPr id="13033" name="Picture 13032" descr="A black background with a black square&#10;&#10;Description automatically generated with medium confidence">
              <a:extLst>
                <a:ext uri="{FF2B5EF4-FFF2-40B4-BE49-F238E27FC236}">
                  <a16:creationId xmlns:a16="http://schemas.microsoft.com/office/drawing/2014/main" id="{B4CE6D9E-B69A-9A8E-3539-925D5CB3797D}"/>
                </a:ext>
              </a:extLst>
            </p:cNvPr>
            <p:cNvPicPr>
              <a:picLocks noChangeAspect="1"/>
            </p:cNvPicPr>
            <p:nvPr/>
          </p:nvPicPr>
          <p:blipFill rotWithShape="1">
            <a:blip r:embed="rId8"/>
            <a:srcRect l="17716" t="3337" r="18328" b="39914"/>
            <a:stretch/>
          </p:blipFill>
          <p:spPr>
            <a:xfrm>
              <a:off x="20770351" y="7305260"/>
              <a:ext cx="759858" cy="674237"/>
            </a:xfrm>
            <a:prstGeom prst="rect">
              <a:avLst/>
            </a:prstGeom>
          </p:spPr>
        </p:pic>
        <p:pic>
          <p:nvPicPr>
            <p:cNvPr id="13035" name="Picture 13034" descr="A black background with a black square&#10;&#10;Description automatically generated with medium confidence">
              <a:extLst>
                <a:ext uri="{FF2B5EF4-FFF2-40B4-BE49-F238E27FC236}">
                  <a16:creationId xmlns:a16="http://schemas.microsoft.com/office/drawing/2014/main" id="{CA8014DE-34E8-4989-E2A0-5A3D52C4FD9B}"/>
                </a:ext>
              </a:extLst>
            </p:cNvPr>
            <p:cNvPicPr>
              <a:picLocks noChangeAspect="1"/>
            </p:cNvPicPr>
            <p:nvPr/>
          </p:nvPicPr>
          <p:blipFill rotWithShape="1">
            <a:blip r:embed="rId8"/>
            <a:srcRect l="17716" t="3337" r="18328" b="39914"/>
            <a:stretch/>
          </p:blipFill>
          <p:spPr>
            <a:xfrm>
              <a:off x="18870713" y="6750577"/>
              <a:ext cx="759858" cy="674237"/>
            </a:xfrm>
            <a:prstGeom prst="rect">
              <a:avLst/>
            </a:prstGeom>
          </p:spPr>
        </p:pic>
        <p:pic>
          <p:nvPicPr>
            <p:cNvPr id="13040" name="Picture 13039" descr="A black background with a black square&#10;&#10;Description automatically generated with medium confidence">
              <a:extLst>
                <a:ext uri="{FF2B5EF4-FFF2-40B4-BE49-F238E27FC236}">
                  <a16:creationId xmlns:a16="http://schemas.microsoft.com/office/drawing/2014/main" id="{1BC2E4E6-5368-668D-2912-BB9A4F8F4472}"/>
                </a:ext>
              </a:extLst>
            </p:cNvPr>
            <p:cNvPicPr>
              <a:picLocks noChangeAspect="1"/>
            </p:cNvPicPr>
            <p:nvPr/>
          </p:nvPicPr>
          <p:blipFill rotWithShape="1">
            <a:blip r:embed="rId8"/>
            <a:srcRect l="17716" t="3337" r="18328" b="39914"/>
            <a:stretch/>
          </p:blipFill>
          <p:spPr>
            <a:xfrm>
              <a:off x="18214179" y="5194582"/>
              <a:ext cx="759858" cy="674237"/>
            </a:xfrm>
            <a:prstGeom prst="rect">
              <a:avLst/>
            </a:prstGeom>
          </p:spPr>
        </p:pic>
        <p:cxnSp>
          <p:nvCxnSpPr>
            <p:cNvPr id="13042" name="Straight Arrow Connector 13041">
              <a:extLst>
                <a:ext uri="{FF2B5EF4-FFF2-40B4-BE49-F238E27FC236}">
                  <a16:creationId xmlns:a16="http://schemas.microsoft.com/office/drawing/2014/main" id="{404A9A19-D45F-6AF6-BD58-C2A27F0CB60E}"/>
                </a:ext>
              </a:extLst>
            </p:cNvPr>
            <p:cNvCxnSpPr>
              <a:cxnSpLocks/>
            </p:cNvCxnSpPr>
            <p:nvPr/>
          </p:nvCxnSpPr>
          <p:spPr bwMode="auto">
            <a:xfrm>
              <a:off x="19813014" y="7131216"/>
              <a:ext cx="774896" cy="331192"/>
            </a:xfrm>
            <a:prstGeom prst="straightConnector1">
              <a:avLst/>
            </a:prstGeom>
            <a:ln w="9525">
              <a:solidFill>
                <a:schemeClr val="tx1"/>
              </a:solidFill>
              <a:headEnd type="none" w="med" len="med"/>
              <a:tailEnd type="triangle" w="sm" len="sm"/>
            </a:ln>
            <a:effectLst/>
          </p:spPr>
          <p:style>
            <a:lnRef idx="1">
              <a:schemeClr val="dk1"/>
            </a:lnRef>
            <a:fillRef idx="0">
              <a:schemeClr val="dk1"/>
            </a:fillRef>
            <a:effectRef idx="0">
              <a:schemeClr val="dk1"/>
            </a:effectRef>
            <a:fontRef idx="minor">
              <a:schemeClr val="tx1"/>
            </a:fontRef>
          </p:style>
        </p:cxnSp>
        <p:cxnSp>
          <p:nvCxnSpPr>
            <p:cNvPr id="13044" name="Straight Arrow Connector 13043">
              <a:extLst>
                <a:ext uri="{FF2B5EF4-FFF2-40B4-BE49-F238E27FC236}">
                  <a16:creationId xmlns:a16="http://schemas.microsoft.com/office/drawing/2014/main" id="{198CF6CD-9D86-45C3-D11C-8A8D631C43E9}"/>
                </a:ext>
              </a:extLst>
            </p:cNvPr>
            <p:cNvCxnSpPr>
              <a:cxnSpLocks/>
            </p:cNvCxnSpPr>
            <p:nvPr/>
          </p:nvCxnSpPr>
          <p:spPr bwMode="auto">
            <a:xfrm flipH="1">
              <a:off x="21585688" y="7305260"/>
              <a:ext cx="576299" cy="317598"/>
            </a:xfrm>
            <a:prstGeom prst="straightConnector1">
              <a:avLst/>
            </a:prstGeom>
            <a:ln w="9525">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A6AC3EA0-E147-18BD-6583-D2245A49D3C4}"/>
                </a:ext>
              </a:extLst>
            </p:cNvPr>
            <p:cNvSpPr txBox="1"/>
            <p:nvPr/>
          </p:nvSpPr>
          <p:spPr>
            <a:xfrm>
              <a:off x="19265116" y="3357573"/>
              <a:ext cx="3700996" cy="10199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marL="0" marR="0" lvl="0" indent="0" algn="l" defTabSz="2437882" rtl="0" eaLnBrk="1" fontAlgn="auto" latinLnBrk="0" hangingPunct="1">
                <a:lnSpc>
                  <a:spcPct val="100000"/>
                </a:lnSpc>
                <a:spcBef>
                  <a:spcPts val="1200"/>
                </a:spcBef>
                <a:spcAft>
                  <a:spcPts val="0"/>
                </a:spcAft>
                <a:buClrTx/>
                <a:buSzPct val="100000"/>
                <a:buFontTx/>
                <a:buNone/>
                <a:tabLst/>
                <a:defRPr/>
              </a:pP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sym typeface="IBM Plex Sans Light"/>
                </a:rPr>
                <a:t>“Evaluate attached claims documents, assess coverage &amp; costs and suggest repair”</a:t>
              </a:r>
            </a:p>
          </p:txBody>
        </p:sp>
        <p:sp>
          <p:nvSpPr>
            <p:cNvPr id="29" name="TextBox 28">
              <a:extLst>
                <a:ext uri="{FF2B5EF4-FFF2-40B4-BE49-F238E27FC236}">
                  <a16:creationId xmlns:a16="http://schemas.microsoft.com/office/drawing/2014/main" id="{30889938-5228-0E64-393D-8967F372071F}"/>
                </a:ext>
              </a:extLst>
            </p:cNvPr>
            <p:cNvSpPr txBox="1"/>
            <p:nvPr/>
          </p:nvSpPr>
          <p:spPr>
            <a:xfrm>
              <a:off x="21609287" y="6793095"/>
              <a:ext cx="1105403" cy="4371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t>LLM Agent 4</a:t>
              </a:r>
              <a:b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br>
              <a:r>
                <a:rPr kumimoji="0" lang="en-US" sz="8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rPr>
                <a:t>[Repair Search]</a:t>
              </a:r>
              <a:endPar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endParaRPr>
            </a:p>
          </p:txBody>
        </p:sp>
        <p:sp>
          <p:nvSpPr>
            <p:cNvPr id="30" name="TextBox 29">
              <a:extLst>
                <a:ext uri="{FF2B5EF4-FFF2-40B4-BE49-F238E27FC236}">
                  <a16:creationId xmlns:a16="http://schemas.microsoft.com/office/drawing/2014/main" id="{815C32AC-8130-07BE-D149-574D8DD31A86}"/>
                </a:ext>
              </a:extLst>
            </p:cNvPr>
            <p:cNvSpPr txBox="1"/>
            <p:nvPr/>
          </p:nvSpPr>
          <p:spPr>
            <a:xfrm>
              <a:off x="20468126" y="8023786"/>
              <a:ext cx="1100344" cy="4371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t>LLM Agent 3</a:t>
              </a:r>
              <a:b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br>
              <a:r>
                <a:rPr kumimoji="0" lang="en-US" sz="8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rPr>
                <a:t>[Cost Estimate]</a:t>
              </a:r>
              <a:endPar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endParaRPr>
            </a:p>
          </p:txBody>
        </p:sp>
        <p:sp>
          <p:nvSpPr>
            <p:cNvPr id="34" name="TextBox 33">
              <a:extLst>
                <a:ext uri="{FF2B5EF4-FFF2-40B4-BE49-F238E27FC236}">
                  <a16:creationId xmlns:a16="http://schemas.microsoft.com/office/drawing/2014/main" id="{FE2E9C32-6E7D-5E26-0D71-EB345B5606D0}"/>
                </a:ext>
              </a:extLst>
            </p:cNvPr>
            <p:cNvSpPr txBox="1"/>
            <p:nvPr/>
          </p:nvSpPr>
          <p:spPr>
            <a:xfrm>
              <a:off x="18462649" y="7469177"/>
              <a:ext cx="1241998" cy="4371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t>LLM Agent 2</a:t>
              </a:r>
              <a:b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br>
              <a:r>
                <a:rPr kumimoji="0" lang="en-US" sz="8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rPr>
                <a:t>[Policy Evaluator]</a:t>
              </a:r>
              <a:endParaRPr kumimoji="0" lang="en-US" sz="14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endParaRPr>
            </a:p>
          </p:txBody>
        </p:sp>
        <p:sp>
          <p:nvSpPr>
            <p:cNvPr id="35" name="TextBox 34">
              <a:extLst>
                <a:ext uri="{FF2B5EF4-FFF2-40B4-BE49-F238E27FC236}">
                  <a16:creationId xmlns:a16="http://schemas.microsoft.com/office/drawing/2014/main" id="{6D2695AA-C535-1ED9-DB8F-7BD097E5A7EC}"/>
                </a:ext>
              </a:extLst>
            </p:cNvPr>
            <p:cNvSpPr txBox="1"/>
            <p:nvPr/>
          </p:nvSpPr>
          <p:spPr>
            <a:xfrm>
              <a:off x="18009617" y="5913387"/>
              <a:ext cx="1201527" cy="4371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ctr" defTabSz="243791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t>LLM Agent 1</a:t>
              </a:r>
              <a:b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Arial" panose="020B0604020202020204" pitchFamily="34" charset="0"/>
                  <a:sym typeface="IBM Plex Sans Light"/>
                </a:rPr>
              </a:br>
              <a:r>
                <a:rPr kumimoji="0" lang="en-US" sz="8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rPr>
                <a:t>[Claims Handler]</a:t>
              </a:r>
              <a:endParaRPr kumimoji="0" lang="en-US" sz="1000"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Arial" panose="020B0604020202020204" pitchFamily="34" charset="0"/>
                <a:sym typeface="IBM Plex Sans Light"/>
              </a:endParaRPr>
            </a:p>
          </p:txBody>
        </p:sp>
        <p:sp>
          <p:nvSpPr>
            <p:cNvPr id="24" name="TextBox 23">
              <a:extLst>
                <a:ext uri="{FF2B5EF4-FFF2-40B4-BE49-F238E27FC236}">
                  <a16:creationId xmlns:a16="http://schemas.microsoft.com/office/drawing/2014/main" id="{F9F6B711-B9C9-D8EC-33E1-681483EA8DC4}"/>
                </a:ext>
              </a:extLst>
            </p:cNvPr>
            <p:cNvSpPr txBox="1"/>
            <p:nvPr/>
          </p:nvSpPr>
          <p:spPr>
            <a:xfrm>
              <a:off x="20651581" y="5234293"/>
              <a:ext cx="2076744" cy="24283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sym typeface="IBM Plex Sans Light"/>
                </a:rPr>
                <a:t>Plan / Execute / Reflect</a:t>
              </a:r>
            </a:p>
          </p:txBody>
        </p:sp>
      </p:grpSp>
      <p:sp>
        <p:nvSpPr>
          <p:cNvPr id="6" name="Rectangle">
            <a:extLst>
              <a:ext uri="{FF2B5EF4-FFF2-40B4-BE49-F238E27FC236}">
                <a16:creationId xmlns:a16="http://schemas.microsoft.com/office/drawing/2014/main" id="{A9F9C87E-2B25-585F-4EB7-187AD5C308E4}"/>
              </a:ext>
            </a:extLst>
          </p:cNvPr>
          <p:cNvSpPr/>
          <p:nvPr/>
        </p:nvSpPr>
        <p:spPr>
          <a:xfrm>
            <a:off x="282907" y="933261"/>
            <a:ext cx="3382400" cy="432652"/>
          </a:xfrm>
          <a:prstGeom prst="roundRect">
            <a:avLst>
              <a:gd name="adj" fmla="val 50000"/>
            </a:avLst>
          </a:prstGeom>
          <a:solidFill>
            <a:srgbClr val="0E61FF"/>
          </a:solidFill>
          <a:ln w="38100">
            <a:solidFill>
              <a:schemeClr val="bg1"/>
            </a:solidFill>
            <a:miter lim="400000"/>
          </a:ln>
          <a:effectLst/>
        </p:spPr>
        <p:txBody>
          <a:bodyPr lIns="91371" tIns="91371" rIns="91371" bIns="91371" anchor="ctr"/>
          <a:lstStyle/>
          <a:p>
            <a:pPr marL="0" marR="0" lvl="0" indent="0" algn="ctr" defTabSz="304675" rtl="0" eaLnBrk="1" fontAlgn="auto" latinLnBrk="0" hangingPunct="1">
              <a:lnSpc>
                <a:spcPct val="100000"/>
              </a:lnSpc>
              <a:spcBef>
                <a:spcPts val="2525"/>
              </a:spcBef>
              <a:spcAft>
                <a:spcPts val="0"/>
              </a:spcAft>
              <a:buClrTx/>
              <a:buSzTx/>
              <a:buFontTx/>
              <a:buNone/>
              <a:tabLst/>
              <a:defRPr sz="4200">
                <a:solidFill>
                  <a:srgbClr val="000000">
                    <a:lumOff val="100000"/>
                  </a:srgbClr>
                </a:solidFill>
              </a:defRPr>
            </a:pPr>
            <a:r>
              <a:rPr kumimoji="0" lang="en-US" sz="1600" b="0" i="0" u="none" strike="noStrike" kern="1200" cap="none" spc="0" normalizeH="0" baseline="0" noProof="0" dirty="0">
                <a:ln>
                  <a:noFill/>
                </a:ln>
                <a:solidFill>
                  <a:srgbClr val="FFFFFF"/>
                </a:solidFill>
                <a:effectLst/>
                <a:uLnTx/>
                <a:uFillTx/>
                <a:latin typeface="IBM Plex Sans"/>
                <a:ea typeface="+mn-ea"/>
                <a:cs typeface="+mn-cs"/>
                <a:sym typeface="IBM Plex Sans"/>
              </a:rPr>
              <a:t>LLM Chatbot</a:t>
            </a:r>
          </a:p>
        </p:txBody>
      </p:sp>
      <p:grpSp>
        <p:nvGrpSpPr>
          <p:cNvPr id="13029" name="Gruppieren 13028">
            <a:extLst>
              <a:ext uri="{FF2B5EF4-FFF2-40B4-BE49-F238E27FC236}">
                <a16:creationId xmlns:a16="http://schemas.microsoft.com/office/drawing/2014/main" id="{2D2AD366-7CFE-B95C-784E-82424F28C10F}"/>
              </a:ext>
            </a:extLst>
          </p:cNvPr>
          <p:cNvGrpSpPr/>
          <p:nvPr/>
        </p:nvGrpSpPr>
        <p:grpSpPr>
          <a:xfrm>
            <a:off x="428575" y="1682265"/>
            <a:ext cx="3068320" cy="2643144"/>
            <a:chOff x="1732927" y="3364074"/>
            <a:chExt cx="4827465" cy="4158524"/>
          </a:xfrm>
        </p:grpSpPr>
        <p:pic>
          <p:nvPicPr>
            <p:cNvPr id="33" name="Picture 1">
              <a:extLst>
                <a:ext uri="{FF2B5EF4-FFF2-40B4-BE49-F238E27FC236}">
                  <a16:creationId xmlns:a16="http://schemas.microsoft.com/office/drawing/2014/main" id="{4DB6D1D9-B6E2-D694-4702-9EAA37A6158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80201" y="3364074"/>
              <a:ext cx="653688" cy="65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Straight Arrow Connector 35">
              <a:extLst>
                <a:ext uri="{FF2B5EF4-FFF2-40B4-BE49-F238E27FC236}">
                  <a16:creationId xmlns:a16="http://schemas.microsoft.com/office/drawing/2014/main" id="{7A20EC01-262A-1897-33E3-11CC71BA1231}"/>
                </a:ext>
              </a:extLst>
            </p:cNvPr>
            <p:cNvCxnSpPr>
              <a:cxnSpLocks/>
            </p:cNvCxnSpPr>
            <p:nvPr/>
          </p:nvCxnSpPr>
          <p:spPr bwMode="auto">
            <a:xfrm>
              <a:off x="2077614" y="4194209"/>
              <a:ext cx="0" cy="839363"/>
            </a:xfrm>
            <a:prstGeom prst="straightConnector1">
              <a:avLst/>
            </a:prstGeom>
            <a:ln w="9525">
              <a:solidFill>
                <a:schemeClr val="tx1"/>
              </a:solidFill>
              <a:headEnd type="none" w="med" len="med"/>
              <a:tailEnd type="triangle" w="med" len="med"/>
            </a:ln>
            <a:effectLst/>
          </p:spPr>
          <p:style>
            <a:lnRef idx="1">
              <a:schemeClr val="dk1"/>
            </a:lnRef>
            <a:fillRef idx="0">
              <a:schemeClr val="dk1"/>
            </a:fillRef>
            <a:effectRef idx="0">
              <a:schemeClr val="dk1"/>
            </a:effectRef>
            <a:fontRef idx="minor">
              <a:schemeClr val="tx1"/>
            </a:fontRef>
          </p:style>
        </p:cxnSp>
        <p:pic>
          <p:nvPicPr>
            <p:cNvPr id="60" name="Picture 24">
              <a:extLst>
                <a:ext uri="{FF2B5EF4-FFF2-40B4-BE49-F238E27FC236}">
                  <a16:creationId xmlns:a16="http://schemas.microsoft.com/office/drawing/2014/main" id="{C3F04A87-BD09-EA5F-6FA2-A3344E9D6C7E}"/>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1732927" y="5224018"/>
              <a:ext cx="643045" cy="643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Box 62">
              <a:extLst>
                <a:ext uri="{FF2B5EF4-FFF2-40B4-BE49-F238E27FC236}">
                  <a16:creationId xmlns:a16="http://schemas.microsoft.com/office/drawing/2014/main" id="{015C7AAF-D479-2802-4B47-CA404DDDB098}"/>
                </a:ext>
              </a:extLst>
            </p:cNvPr>
            <p:cNvSpPr txBox="1"/>
            <p:nvPr/>
          </p:nvSpPr>
          <p:spPr>
            <a:xfrm>
              <a:off x="2772848" y="5391653"/>
              <a:ext cx="2355590" cy="3389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generic GenAI LLM</a:t>
              </a:r>
            </a:p>
          </p:txBody>
        </p:sp>
        <p:sp>
          <p:nvSpPr>
            <p:cNvPr id="15" name="TextBox 14">
              <a:extLst>
                <a:ext uri="{FF2B5EF4-FFF2-40B4-BE49-F238E27FC236}">
                  <a16:creationId xmlns:a16="http://schemas.microsoft.com/office/drawing/2014/main" id="{708105D8-6D19-844A-B8A6-52FEB9CB72CC}"/>
                </a:ext>
              </a:extLst>
            </p:cNvPr>
            <p:cNvSpPr txBox="1"/>
            <p:nvPr/>
          </p:nvSpPr>
          <p:spPr>
            <a:xfrm>
              <a:off x="2757854" y="3408956"/>
              <a:ext cx="3766437" cy="6779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marL="0" marR="0" lvl="0" indent="0" algn="l" defTabSz="2437882" rtl="0" eaLnBrk="1" fontAlgn="auto" latinLnBrk="0" hangingPunct="1">
                <a:lnSpc>
                  <a:spcPct val="100000"/>
                </a:lnSpc>
                <a:spcBef>
                  <a:spcPts val="1200"/>
                </a:spcBef>
                <a:spcAft>
                  <a:spcPts val="0"/>
                </a:spcAft>
                <a:buClrTx/>
                <a:buSzPct val="100000"/>
                <a:buFontTx/>
                <a:buNone/>
                <a:tabLst/>
                <a:defRPr/>
              </a:pP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sym typeface="IBM Plex Sans Light"/>
                </a:rPr>
                <a:t>“Write a storyline for a keynote on AI in insurance”</a:t>
              </a:r>
            </a:p>
          </p:txBody>
        </p:sp>
        <p:grpSp>
          <p:nvGrpSpPr>
            <p:cNvPr id="13027" name="Gruppieren 13026">
              <a:extLst>
                <a:ext uri="{FF2B5EF4-FFF2-40B4-BE49-F238E27FC236}">
                  <a16:creationId xmlns:a16="http://schemas.microsoft.com/office/drawing/2014/main" id="{DDDED02B-C4FA-4E0A-8914-6FFE4C36C7D5}"/>
                </a:ext>
              </a:extLst>
            </p:cNvPr>
            <p:cNvGrpSpPr/>
            <p:nvPr/>
          </p:nvGrpSpPr>
          <p:grpSpPr>
            <a:xfrm>
              <a:off x="2291059" y="5943864"/>
              <a:ext cx="4269333" cy="1578734"/>
              <a:chOff x="2291059" y="5943864"/>
              <a:chExt cx="4269333" cy="1578734"/>
            </a:xfrm>
          </p:grpSpPr>
          <p:grpSp>
            <p:nvGrpSpPr>
              <p:cNvPr id="13017" name="Gruppieren 13016">
                <a:extLst>
                  <a:ext uri="{FF2B5EF4-FFF2-40B4-BE49-F238E27FC236}">
                    <a16:creationId xmlns:a16="http://schemas.microsoft.com/office/drawing/2014/main" id="{4C70E9F2-096B-D851-474D-AEB3441FBDA5}"/>
                  </a:ext>
                </a:extLst>
              </p:cNvPr>
              <p:cNvGrpSpPr/>
              <p:nvPr/>
            </p:nvGrpSpPr>
            <p:grpSpPr>
              <a:xfrm>
                <a:off x="2829775" y="6213722"/>
                <a:ext cx="1322022" cy="1308876"/>
                <a:chOff x="1649927" y="6509202"/>
                <a:chExt cx="1322022" cy="1308876"/>
              </a:xfrm>
            </p:grpSpPr>
            <p:grpSp>
              <p:nvGrpSpPr>
                <p:cNvPr id="12995" name="Gruppieren 12994">
                  <a:extLst>
                    <a:ext uri="{FF2B5EF4-FFF2-40B4-BE49-F238E27FC236}">
                      <a16:creationId xmlns:a16="http://schemas.microsoft.com/office/drawing/2014/main" id="{46883C3B-04BB-E453-8DBE-BE5B2E62B5D6}"/>
                    </a:ext>
                  </a:extLst>
                </p:cNvPr>
                <p:cNvGrpSpPr/>
                <p:nvPr/>
              </p:nvGrpSpPr>
              <p:grpSpPr>
                <a:xfrm>
                  <a:off x="1649927" y="6903678"/>
                  <a:ext cx="914400" cy="914400"/>
                  <a:chOff x="1649927" y="6903678"/>
                  <a:chExt cx="914400" cy="914400"/>
                </a:xfrm>
              </p:grpSpPr>
              <p:sp>
                <p:nvSpPr>
                  <p:cNvPr id="12994" name="Rechteck 12993">
                    <a:extLst>
                      <a:ext uri="{FF2B5EF4-FFF2-40B4-BE49-F238E27FC236}">
                        <a16:creationId xmlns:a16="http://schemas.microsoft.com/office/drawing/2014/main" id="{DCB0BAAF-4069-5563-FA79-34A3BEEFA0E5}"/>
                      </a:ext>
                    </a:extLst>
                  </p:cNvPr>
                  <p:cNvSpPr/>
                  <p:nvPr/>
                </p:nvSpPr>
                <p:spPr bwMode="auto">
                  <a:xfrm>
                    <a:off x="1847654" y="7018013"/>
                    <a:ext cx="477177" cy="72816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9" name="Grafik 48" descr="Papier Silhouette">
                    <a:extLst>
                      <a:ext uri="{FF2B5EF4-FFF2-40B4-BE49-F238E27FC236}">
                        <a16:creationId xmlns:a16="http://schemas.microsoft.com/office/drawing/2014/main" id="{92FD1B2E-3D40-E9B8-6DD9-8C34594281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49927" y="6903678"/>
                    <a:ext cx="914400" cy="914400"/>
                  </a:xfrm>
                  <a:prstGeom prst="rect">
                    <a:avLst/>
                  </a:prstGeom>
                </p:spPr>
              </p:pic>
            </p:grpSp>
            <p:grpSp>
              <p:nvGrpSpPr>
                <p:cNvPr id="12998" name="Gruppieren 12997">
                  <a:extLst>
                    <a:ext uri="{FF2B5EF4-FFF2-40B4-BE49-F238E27FC236}">
                      <a16:creationId xmlns:a16="http://schemas.microsoft.com/office/drawing/2014/main" id="{9CEBD504-AABB-024A-98D4-CA77B676DC18}"/>
                    </a:ext>
                  </a:extLst>
                </p:cNvPr>
                <p:cNvGrpSpPr/>
                <p:nvPr/>
              </p:nvGrpSpPr>
              <p:grpSpPr>
                <a:xfrm>
                  <a:off x="1772812" y="6774946"/>
                  <a:ext cx="914400" cy="914400"/>
                  <a:chOff x="1649927" y="6903678"/>
                  <a:chExt cx="914400" cy="914400"/>
                </a:xfrm>
              </p:grpSpPr>
              <p:sp>
                <p:nvSpPr>
                  <p:cNvPr id="12999" name="Rechteck 12998">
                    <a:extLst>
                      <a:ext uri="{FF2B5EF4-FFF2-40B4-BE49-F238E27FC236}">
                        <a16:creationId xmlns:a16="http://schemas.microsoft.com/office/drawing/2014/main" id="{5A7DAD19-4C80-E129-88E2-B7552799CAF1}"/>
                      </a:ext>
                    </a:extLst>
                  </p:cNvPr>
                  <p:cNvSpPr/>
                  <p:nvPr/>
                </p:nvSpPr>
                <p:spPr bwMode="auto">
                  <a:xfrm>
                    <a:off x="1847654" y="7018013"/>
                    <a:ext cx="477177" cy="72816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001" name="Grafik 13000" descr="Papier Silhouette">
                    <a:extLst>
                      <a:ext uri="{FF2B5EF4-FFF2-40B4-BE49-F238E27FC236}">
                        <a16:creationId xmlns:a16="http://schemas.microsoft.com/office/drawing/2014/main" id="{22F0BA96-3F2E-7B63-DCB2-B32A486FDD6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49927" y="6903678"/>
                    <a:ext cx="914400" cy="914400"/>
                  </a:xfrm>
                  <a:prstGeom prst="rect">
                    <a:avLst/>
                  </a:prstGeom>
                </p:spPr>
              </p:pic>
            </p:grpSp>
            <p:grpSp>
              <p:nvGrpSpPr>
                <p:cNvPr id="13004" name="Gruppieren 13003">
                  <a:extLst>
                    <a:ext uri="{FF2B5EF4-FFF2-40B4-BE49-F238E27FC236}">
                      <a16:creationId xmlns:a16="http://schemas.microsoft.com/office/drawing/2014/main" id="{B11C2DBD-B456-F6D4-6D0F-E3B87E09BE60}"/>
                    </a:ext>
                  </a:extLst>
                </p:cNvPr>
                <p:cNvGrpSpPr/>
                <p:nvPr/>
              </p:nvGrpSpPr>
              <p:grpSpPr>
                <a:xfrm>
                  <a:off x="1906877" y="6620080"/>
                  <a:ext cx="914400" cy="914400"/>
                  <a:chOff x="1649927" y="6903678"/>
                  <a:chExt cx="914400" cy="914400"/>
                </a:xfrm>
              </p:grpSpPr>
              <p:sp>
                <p:nvSpPr>
                  <p:cNvPr id="13009" name="Rechteck 13008">
                    <a:extLst>
                      <a:ext uri="{FF2B5EF4-FFF2-40B4-BE49-F238E27FC236}">
                        <a16:creationId xmlns:a16="http://schemas.microsoft.com/office/drawing/2014/main" id="{E98C87F3-4D99-371F-A4A2-796E06D8CA0F}"/>
                      </a:ext>
                    </a:extLst>
                  </p:cNvPr>
                  <p:cNvSpPr/>
                  <p:nvPr/>
                </p:nvSpPr>
                <p:spPr bwMode="auto">
                  <a:xfrm>
                    <a:off x="1847654" y="7018013"/>
                    <a:ext cx="477177" cy="72816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010" name="Grafik 13009" descr="Papier Silhouette">
                    <a:extLst>
                      <a:ext uri="{FF2B5EF4-FFF2-40B4-BE49-F238E27FC236}">
                        <a16:creationId xmlns:a16="http://schemas.microsoft.com/office/drawing/2014/main" id="{B9B3ED07-11F6-B296-49B6-1DE053934A2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49927" y="6903678"/>
                    <a:ext cx="914400" cy="914400"/>
                  </a:xfrm>
                  <a:prstGeom prst="rect">
                    <a:avLst/>
                  </a:prstGeom>
                </p:spPr>
              </p:pic>
            </p:grpSp>
            <p:grpSp>
              <p:nvGrpSpPr>
                <p:cNvPr id="13011" name="Gruppieren 13010">
                  <a:extLst>
                    <a:ext uri="{FF2B5EF4-FFF2-40B4-BE49-F238E27FC236}">
                      <a16:creationId xmlns:a16="http://schemas.microsoft.com/office/drawing/2014/main" id="{8DE0DBDF-DBB7-B63A-846F-5974128D2B86}"/>
                    </a:ext>
                  </a:extLst>
                </p:cNvPr>
                <p:cNvGrpSpPr/>
                <p:nvPr/>
              </p:nvGrpSpPr>
              <p:grpSpPr>
                <a:xfrm>
                  <a:off x="2057549" y="6509202"/>
                  <a:ext cx="914400" cy="914400"/>
                  <a:chOff x="1649927" y="6903678"/>
                  <a:chExt cx="914400" cy="914400"/>
                </a:xfrm>
              </p:grpSpPr>
              <p:sp>
                <p:nvSpPr>
                  <p:cNvPr id="13013" name="Rechteck 13012">
                    <a:extLst>
                      <a:ext uri="{FF2B5EF4-FFF2-40B4-BE49-F238E27FC236}">
                        <a16:creationId xmlns:a16="http://schemas.microsoft.com/office/drawing/2014/main" id="{B74408F1-370D-8DC6-E906-2800BD6F90CC}"/>
                      </a:ext>
                    </a:extLst>
                  </p:cNvPr>
                  <p:cNvSpPr/>
                  <p:nvPr/>
                </p:nvSpPr>
                <p:spPr bwMode="auto">
                  <a:xfrm>
                    <a:off x="1847654" y="7018013"/>
                    <a:ext cx="477177" cy="72816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014" name="Grafik 13013" descr="Papier Silhouette">
                    <a:extLst>
                      <a:ext uri="{FF2B5EF4-FFF2-40B4-BE49-F238E27FC236}">
                        <a16:creationId xmlns:a16="http://schemas.microsoft.com/office/drawing/2014/main" id="{BACC7265-85C3-68B9-EC6F-F4347D8D3F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49927" y="6903678"/>
                    <a:ext cx="914400" cy="914400"/>
                  </a:xfrm>
                  <a:prstGeom prst="rect">
                    <a:avLst/>
                  </a:prstGeom>
                </p:spPr>
              </p:pic>
            </p:grpSp>
          </p:grpSp>
          <p:sp>
            <p:nvSpPr>
              <p:cNvPr id="13020" name="TextBox 25">
                <a:extLst>
                  <a:ext uri="{FF2B5EF4-FFF2-40B4-BE49-F238E27FC236}">
                    <a16:creationId xmlns:a16="http://schemas.microsoft.com/office/drawing/2014/main" id="{422F947E-A971-6CED-4C14-2E085C489AE9}"/>
                  </a:ext>
                </a:extLst>
              </p:cNvPr>
              <p:cNvSpPr txBox="1"/>
              <p:nvPr/>
            </p:nvSpPr>
            <p:spPr>
              <a:xfrm>
                <a:off x="4198068" y="6442371"/>
                <a:ext cx="2362324" cy="9684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spAutoFit/>
              </a:bodyPr>
              <a:lstStyle/>
              <a:p>
                <a:pPr marL="0" marR="0" lvl="0" indent="0" algn="l" defTabSz="2437882" rtl="0" eaLnBrk="1" fontAlgn="auto" latinLnBrk="0" hangingPunct="1">
                  <a:lnSpc>
                    <a:spcPct val="100000"/>
                  </a:lnSpc>
                  <a:spcBef>
                    <a:spcPts val="2899"/>
                  </a:spcBef>
                  <a:spcAft>
                    <a:spcPts val="0"/>
                  </a:spcAft>
                  <a:buClrTx/>
                  <a:buSzPct val="100000"/>
                  <a:buFontTx/>
                  <a:buNone/>
                  <a:tabLst/>
                  <a:defRPr/>
                </a:pP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optional:</a:t>
                </a:r>
                <a:b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br>
                <a:r>
                  <a:rPr kumimoji="0" lang="en-US" sz="1000" b="0" i="0" u="none" strike="noStrike" kern="1200" cap="none" spc="0" normalizeH="0" baseline="0" noProof="0" dirty="0">
                    <a:ln>
                      <a:noFill/>
                    </a:ln>
                    <a:solidFill>
                      <a:srgbClr val="000000"/>
                    </a:solidFill>
                    <a:effectLst/>
                    <a:uLnTx/>
                    <a:uFillTx/>
                    <a:latin typeface="IBM Plex Sans Light"/>
                    <a:ea typeface="+mn-ea"/>
                    <a:cs typeface="+mn-cs"/>
                    <a:sym typeface="IBM Plex Sans Light"/>
                  </a:rPr>
                  <a:t>based on set of documents or knowledge database</a:t>
                </a:r>
              </a:p>
            </p:txBody>
          </p:sp>
          <p:cxnSp>
            <p:nvCxnSpPr>
              <p:cNvPr id="13021" name="Straight Arrow Connector 35">
                <a:extLst>
                  <a:ext uri="{FF2B5EF4-FFF2-40B4-BE49-F238E27FC236}">
                    <a16:creationId xmlns:a16="http://schemas.microsoft.com/office/drawing/2014/main" id="{5FF71540-F3E7-C1B0-1263-A00AD7DCB4B7}"/>
                  </a:ext>
                </a:extLst>
              </p:cNvPr>
              <p:cNvCxnSpPr>
                <a:cxnSpLocks/>
              </p:cNvCxnSpPr>
              <p:nvPr/>
            </p:nvCxnSpPr>
            <p:spPr bwMode="auto">
              <a:xfrm>
                <a:off x="2291059" y="5943864"/>
                <a:ext cx="682280" cy="649937"/>
              </a:xfrm>
              <a:prstGeom prst="straightConnector1">
                <a:avLst/>
              </a:prstGeom>
              <a:ln w="9525">
                <a:solidFill>
                  <a:schemeClr val="tx1"/>
                </a:solidFill>
                <a:prstDash val="dash"/>
                <a:headEnd type="none" w="med" len="med"/>
                <a:tailEnd type="triangle" w="med" len="med"/>
              </a:ln>
              <a:effectLst/>
            </p:spPr>
            <p:style>
              <a:lnRef idx="1">
                <a:schemeClr val="dk1"/>
              </a:lnRef>
              <a:fillRef idx="0">
                <a:schemeClr val="dk1"/>
              </a:fillRef>
              <a:effectRef idx="0">
                <a:schemeClr val="dk1"/>
              </a:effectRef>
              <a:fontRef idx="minor">
                <a:schemeClr val="tx1"/>
              </a:fontRef>
            </p:style>
          </p:cxnSp>
        </p:grpSp>
      </p:grpSp>
      <p:grpSp>
        <p:nvGrpSpPr>
          <p:cNvPr id="13045" name="Gruppieren 13044">
            <a:extLst>
              <a:ext uri="{FF2B5EF4-FFF2-40B4-BE49-F238E27FC236}">
                <a16:creationId xmlns:a16="http://schemas.microsoft.com/office/drawing/2014/main" id="{C3A93690-59A6-64CE-735F-59D92FB2D21D}"/>
              </a:ext>
            </a:extLst>
          </p:cNvPr>
          <p:cNvGrpSpPr/>
          <p:nvPr/>
        </p:nvGrpSpPr>
        <p:grpSpPr>
          <a:xfrm>
            <a:off x="8932153" y="2347623"/>
            <a:ext cx="433656" cy="326199"/>
            <a:chOff x="1626027" y="10754691"/>
            <a:chExt cx="1553158" cy="1168294"/>
          </a:xfrm>
        </p:grpSpPr>
        <p:pic>
          <p:nvPicPr>
            <p:cNvPr id="13037" name="Grafik 13036" descr="Papier Silhouette">
              <a:extLst>
                <a:ext uri="{FF2B5EF4-FFF2-40B4-BE49-F238E27FC236}">
                  <a16:creationId xmlns:a16="http://schemas.microsoft.com/office/drawing/2014/main" id="{04B1EA53-C0BB-850A-76FB-326DBE100D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16653" y="10754691"/>
              <a:ext cx="1162532" cy="1162529"/>
            </a:xfrm>
            <a:prstGeom prst="rect">
              <a:avLst/>
            </a:prstGeom>
          </p:spPr>
        </p:pic>
        <p:sp>
          <p:nvSpPr>
            <p:cNvPr id="13043" name="Rechteck 13042">
              <a:extLst>
                <a:ext uri="{FF2B5EF4-FFF2-40B4-BE49-F238E27FC236}">
                  <a16:creationId xmlns:a16="http://schemas.microsoft.com/office/drawing/2014/main" id="{5BE5A487-3018-3C3B-AD29-D8BBFD9819E9}"/>
                </a:ext>
              </a:extLst>
            </p:cNvPr>
            <p:cNvSpPr/>
            <p:nvPr/>
          </p:nvSpPr>
          <p:spPr bwMode="auto">
            <a:xfrm>
              <a:off x="1811979" y="11311789"/>
              <a:ext cx="606663" cy="41499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041" name="Grafik 13040" descr="Bild Silhouette">
              <a:extLst>
                <a:ext uri="{FF2B5EF4-FFF2-40B4-BE49-F238E27FC236}">
                  <a16:creationId xmlns:a16="http://schemas.microsoft.com/office/drawing/2014/main" id="{5304BCB6-B255-CFDF-4819-87E8E08CF9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26027" y="11008585"/>
              <a:ext cx="914400" cy="914400"/>
            </a:xfrm>
            <a:prstGeom prst="rect">
              <a:avLst/>
            </a:prstGeom>
          </p:spPr>
        </p:pic>
      </p:grpSp>
      <p:sp>
        <p:nvSpPr>
          <p:cNvPr id="7" name="TextBox 6">
            <a:extLst>
              <a:ext uri="{FF2B5EF4-FFF2-40B4-BE49-F238E27FC236}">
                <a16:creationId xmlns:a16="http://schemas.microsoft.com/office/drawing/2014/main" id="{43A8120D-7F8B-53E2-6A29-90DF59C4D353}"/>
              </a:ext>
            </a:extLst>
          </p:cNvPr>
          <p:cNvSpPr txBox="1"/>
          <p:nvPr/>
        </p:nvSpPr>
        <p:spPr>
          <a:xfrm>
            <a:off x="2971800" y="49911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marR="0" lvl="0" indent="-446749" algn="l" defTabSz="2438400" rtl="0" eaLnBrk="1" fontAlgn="auto" latinLnBrk="0" hangingPunct="1">
              <a:lnSpc>
                <a:spcPct val="100000"/>
              </a:lnSpc>
              <a:spcBef>
                <a:spcPts val="2900"/>
              </a:spcBef>
              <a:spcAft>
                <a:spcPts val="0"/>
              </a:spcAft>
              <a:buClrTx/>
              <a:buSzPct val="100000"/>
              <a:buFontTx/>
              <a:buChar char="–"/>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44" name="Footer Placeholder 8">
            <a:extLst>
              <a:ext uri="{FF2B5EF4-FFF2-40B4-BE49-F238E27FC236}">
                <a16:creationId xmlns:a16="http://schemas.microsoft.com/office/drawing/2014/main" id="{2B80DC70-0212-D66C-A48D-BFE6FF51A276}"/>
              </a:ext>
            </a:extLst>
          </p:cNvPr>
          <p:cNvSpPr txBox="1">
            <a:spLocks/>
          </p:cNvSpPr>
          <p:nvPr/>
        </p:nvSpPr>
        <p:spPr>
          <a:xfrm>
            <a:off x="284824" y="6408380"/>
            <a:ext cx="2477765" cy="19050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2025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loudflight</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 IBM Corporation </a:t>
            </a:r>
          </a:p>
        </p:txBody>
      </p:sp>
    </p:spTree>
    <p:extLst>
      <p:ext uri="{BB962C8B-B14F-4D97-AF65-F5344CB8AC3E}">
        <p14:creationId xmlns:p14="http://schemas.microsoft.com/office/powerpoint/2010/main" val="721478920"/>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2DE47A2C-B10F-0FA2-2DBB-E84FC4A11976}"/>
              </a:ext>
            </a:extLst>
          </p:cNvPr>
          <p:cNvGrpSpPr/>
          <p:nvPr/>
        </p:nvGrpSpPr>
        <p:grpSpPr>
          <a:xfrm>
            <a:off x="3657598" y="2935151"/>
            <a:ext cx="8110313" cy="413468"/>
            <a:chOff x="2743198" y="2194560"/>
            <a:chExt cx="6082735" cy="310101"/>
          </a:xfrm>
        </p:grpSpPr>
        <p:sp>
          <p:nvSpPr>
            <p:cNvPr id="7" name="Rectangle 6">
              <a:extLst>
                <a:ext uri="{FF2B5EF4-FFF2-40B4-BE49-F238E27FC236}">
                  <a16:creationId xmlns:a16="http://schemas.microsoft.com/office/drawing/2014/main" id="{00955121-4152-C2E3-66C8-6ED1353A6B21}"/>
                </a:ext>
              </a:extLst>
            </p:cNvPr>
            <p:cNvSpPr/>
            <p:nvPr/>
          </p:nvSpPr>
          <p:spPr bwMode="auto">
            <a:xfrm>
              <a:off x="2743198" y="2194560"/>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Static</a:t>
              </a:r>
            </a:p>
          </p:txBody>
        </p:sp>
        <p:sp>
          <p:nvSpPr>
            <p:cNvPr id="13" name="Rectangle 12">
              <a:extLst>
                <a:ext uri="{FF2B5EF4-FFF2-40B4-BE49-F238E27FC236}">
                  <a16:creationId xmlns:a16="http://schemas.microsoft.com/office/drawing/2014/main" id="{10FA32E1-EB94-20E5-38C1-6DF112238DC5}"/>
                </a:ext>
              </a:extLst>
            </p:cNvPr>
            <p:cNvSpPr/>
            <p:nvPr/>
          </p:nvSpPr>
          <p:spPr bwMode="auto">
            <a:xfrm>
              <a:off x="8022850" y="2194560"/>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Adaptive</a:t>
              </a:r>
            </a:p>
          </p:txBody>
        </p:sp>
        <p:cxnSp>
          <p:nvCxnSpPr>
            <p:cNvPr id="19" name="Straight Arrow Connector 18">
              <a:extLst>
                <a:ext uri="{FF2B5EF4-FFF2-40B4-BE49-F238E27FC236}">
                  <a16:creationId xmlns:a16="http://schemas.microsoft.com/office/drawing/2014/main" id="{9169FBD7-CA9C-4FFD-355B-101CA0F56D53}"/>
                </a:ext>
              </a:extLst>
            </p:cNvPr>
            <p:cNvCxnSpPr>
              <a:stCxn id="7" idx="3"/>
              <a:endCxn id="13" idx="1"/>
            </p:cNvCxnSpPr>
            <p:nvPr/>
          </p:nvCxnSpPr>
          <p:spPr bwMode="auto">
            <a:xfrm>
              <a:off x="3546281" y="2349611"/>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4" name="Oval 23">
              <a:extLst>
                <a:ext uri="{FF2B5EF4-FFF2-40B4-BE49-F238E27FC236}">
                  <a16:creationId xmlns:a16="http://schemas.microsoft.com/office/drawing/2014/main" id="{7C5B3C46-A517-52FF-3D8B-E663083E0500}"/>
                </a:ext>
              </a:extLst>
            </p:cNvPr>
            <p:cNvSpPr/>
            <p:nvPr/>
          </p:nvSpPr>
          <p:spPr bwMode="auto">
            <a:xfrm>
              <a:off x="3741979" y="2273985"/>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2" name="Oval 31">
              <a:extLst>
                <a:ext uri="{FF2B5EF4-FFF2-40B4-BE49-F238E27FC236}">
                  <a16:creationId xmlns:a16="http://schemas.microsoft.com/office/drawing/2014/main" id="{01113B4E-1770-43C6-BFCA-8F6F14F03ED7}"/>
                </a:ext>
              </a:extLst>
            </p:cNvPr>
            <p:cNvSpPr/>
            <p:nvPr/>
          </p:nvSpPr>
          <p:spPr bwMode="auto">
            <a:xfrm>
              <a:off x="4602404" y="2273985"/>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4" name="Oval 33">
              <a:extLst>
                <a:ext uri="{FF2B5EF4-FFF2-40B4-BE49-F238E27FC236}">
                  <a16:creationId xmlns:a16="http://schemas.microsoft.com/office/drawing/2014/main" id="{05E5E171-6EF9-F556-4815-050E00D5F751}"/>
                </a:ext>
              </a:extLst>
            </p:cNvPr>
            <p:cNvSpPr/>
            <p:nvPr/>
          </p:nvSpPr>
          <p:spPr bwMode="auto">
            <a:xfrm>
              <a:off x="7409612" y="2273985"/>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5" name="Group 64">
            <a:extLst>
              <a:ext uri="{FF2B5EF4-FFF2-40B4-BE49-F238E27FC236}">
                <a16:creationId xmlns:a16="http://schemas.microsoft.com/office/drawing/2014/main" id="{1C0FE428-AF9E-A6B8-CD2D-FB4882024D3C}"/>
              </a:ext>
            </a:extLst>
          </p:cNvPr>
          <p:cNvGrpSpPr/>
          <p:nvPr/>
        </p:nvGrpSpPr>
        <p:grpSpPr>
          <a:xfrm>
            <a:off x="3657598" y="3566707"/>
            <a:ext cx="8110313" cy="413468"/>
            <a:chOff x="2743198" y="2568271"/>
            <a:chExt cx="6082735" cy="310101"/>
          </a:xfrm>
        </p:grpSpPr>
        <p:sp>
          <p:nvSpPr>
            <p:cNvPr id="8" name="Rectangle 7">
              <a:extLst>
                <a:ext uri="{FF2B5EF4-FFF2-40B4-BE49-F238E27FC236}">
                  <a16:creationId xmlns:a16="http://schemas.microsoft.com/office/drawing/2014/main" id="{2182EB13-36B2-8E81-B5F2-C14390B05C93}"/>
                </a:ext>
              </a:extLst>
            </p:cNvPr>
            <p:cNvSpPr/>
            <p:nvPr/>
          </p:nvSpPr>
          <p:spPr bwMode="auto">
            <a:xfrm>
              <a:off x="2743198" y="2568271"/>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Reactive</a:t>
              </a:r>
            </a:p>
          </p:txBody>
        </p:sp>
        <p:sp>
          <p:nvSpPr>
            <p:cNvPr id="14" name="Rectangle 13">
              <a:extLst>
                <a:ext uri="{FF2B5EF4-FFF2-40B4-BE49-F238E27FC236}">
                  <a16:creationId xmlns:a16="http://schemas.microsoft.com/office/drawing/2014/main" id="{7E641D01-BFEE-679B-5B55-80E51627BBC6}"/>
                </a:ext>
              </a:extLst>
            </p:cNvPr>
            <p:cNvSpPr/>
            <p:nvPr/>
          </p:nvSpPr>
          <p:spPr bwMode="auto">
            <a:xfrm>
              <a:off x="8022850" y="2568271"/>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Proactive planning</a:t>
              </a:r>
            </a:p>
          </p:txBody>
        </p:sp>
        <p:cxnSp>
          <p:nvCxnSpPr>
            <p:cNvPr id="20" name="Straight Arrow Connector 19">
              <a:extLst>
                <a:ext uri="{FF2B5EF4-FFF2-40B4-BE49-F238E27FC236}">
                  <a16:creationId xmlns:a16="http://schemas.microsoft.com/office/drawing/2014/main" id="{D03DB175-2337-A4A4-1EC8-D1E078394683}"/>
                </a:ext>
              </a:extLst>
            </p:cNvPr>
            <p:cNvCxnSpPr/>
            <p:nvPr/>
          </p:nvCxnSpPr>
          <p:spPr bwMode="auto">
            <a:xfrm>
              <a:off x="3546281" y="2731274"/>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5" name="Oval 24">
              <a:extLst>
                <a:ext uri="{FF2B5EF4-FFF2-40B4-BE49-F238E27FC236}">
                  <a16:creationId xmlns:a16="http://schemas.microsoft.com/office/drawing/2014/main" id="{26876F16-2D80-5E69-4F05-4F920E1F45FB}"/>
                </a:ext>
              </a:extLst>
            </p:cNvPr>
            <p:cNvSpPr/>
            <p:nvPr/>
          </p:nvSpPr>
          <p:spPr bwMode="auto">
            <a:xfrm>
              <a:off x="3741979" y="2652798"/>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3" name="Oval 32">
              <a:extLst>
                <a:ext uri="{FF2B5EF4-FFF2-40B4-BE49-F238E27FC236}">
                  <a16:creationId xmlns:a16="http://schemas.microsoft.com/office/drawing/2014/main" id="{12A05D2F-2AB4-B02E-03BB-023B6CDD9E5E}"/>
                </a:ext>
              </a:extLst>
            </p:cNvPr>
            <p:cNvSpPr/>
            <p:nvPr/>
          </p:nvSpPr>
          <p:spPr bwMode="auto">
            <a:xfrm>
              <a:off x="4602404" y="2652798"/>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5" name="Oval 34">
              <a:extLst>
                <a:ext uri="{FF2B5EF4-FFF2-40B4-BE49-F238E27FC236}">
                  <a16:creationId xmlns:a16="http://schemas.microsoft.com/office/drawing/2014/main" id="{4C76EA8D-9CA6-8330-F9B4-924159EFEA0A}"/>
                </a:ext>
              </a:extLst>
            </p:cNvPr>
            <p:cNvSpPr/>
            <p:nvPr/>
          </p:nvSpPr>
          <p:spPr bwMode="auto">
            <a:xfrm>
              <a:off x="7117004" y="2652798"/>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6" name="Group 65">
            <a:extLst>
              <a:ext uri="{FF2B5EF4-FFF2-40B4-BE49-F238E27FC236}">
                <a16:creationId xmlns:a16="http://schemas.microsoft.com/office/drawing/2014/main" id="{BB5105F7-E335-C43A-EAAE-0A2B7C3BA796}"/>
              </a:ext>
            </a:extLst>
          </p:cNvPr>
          <p:cNvGrpSpPr/>
          <p:nvPr/>
        </p:nvGrpSpPr>
        <p:grpSpPr>
          <a:xfrm>
            <a:off x="3657598" y="4198263"/>
            <a:ext cx="8110313" cy="413468"/>
            <a:chOff x="2743198" y="2941982"/>
            <a:chExt cx="6082735" cy="310101"/>
          </a:xfrm>
        </p:grpSpPr>
        <p:sp>
          <p:nvSpPr>
            <p:cNvPr id="9" name="Rectangle 8">
              <a:extLst>
                <a:ext uri="{FF2B5EF4-FFF2-40B4-BE49-F238E27FC236}">
                  <a16:creationId xmlns:a16="http://schemas.microsoft.com/office/drawing/2014/main" id="{CC020CE7-D4A9-CB80-C9B9-789508635104}"/>
                </a:ext>
              </a:extLst>
            </p:cNvPr>
            <p:cNvSpPr/>
            <p:nvPr/>
          </p:nvSpPr>
          <p:spPr bwMode="auto">
            <a:xfrm>
              <a:off x="2743198" y="2941982"/>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Simple Tasks</a:t>
              </a:r>
            </a:p>
          </p:txBody>
        </p:sp>
        <p:sp>
          <p:nvSpPr>
            <p:cNvPr id="15" name="Rectangle 14">
              <a:extLst>
                <a:ext uri="{FF2B5EF4-FFF2-40B4-BE49-F238E27FC236}">
                  <a16:creationId xmlns:a16="http://schemas.microsoft.com/office/drawing/2014/main" id="{0BE6B979-9045-9CF2-337E-8D5003CA5D3D}"/>
                </a:ext>
              </a:extLst>
            </p:cNvPr>
            <p:cNvSpPr/>
            <p:nvPr/>
          </p:nvSpPr>
          <p:spPr bwMode="auto">
            <a:xfrm>
              <a:off x="8022850" y="2941982"/>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Complex Goals</a:t>
              </a:r>
            </a:p>
          </p:txBody>
        </p:sp>
        <p:cxnSp>
          <p:nvCxnSpPr>
            <p:cNvPr id="23" name="Straight Arrow Connector 22">
              <a:extLst>
                <a:ext uri="{FF2B5EF4-FFF2-40B4-BE49-F238E27FC236}">
                  <a16:creationId xmlns:a16="http://schemas.microsoft.com/office/drawing/2014/main" id="{FFE193FE-AC0E-758A-0CC4-A40681B25C95}"/>
                </a:ext>
              </a:extLst>
            </p:cNvPr>
            <p:cNvCxnSpPr/>
            <p:nvPr/>
          </p:nvCxnSpPr>
          <p:spPr bwMode="auto">
            <a:xfrm>
              <a:off x="3546281" y="3102334"/>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6" name="Oval 25">
              <a:extLst>
                <a:ext uri="{FF2B5EF4-FFF2-40B4-BE49-F238E27FC236}">
                  <a16:creationId xmlns:a16="http://schemas.microsoft.com/office/drawing/2014/main" id="{4F57D916-2D04-A1C9-6531-82BA6E5AD09C}"/>
                </a:ext>
              </a:extLst>
            </p:cNvPr>
            <p:cNvSpPr/>
            <p:nvPr/>
          </p:nvSpPr>
          <p:spPr bwMode="auto">
            <a:xfrm>
              <a:off x="4107104" y="3035435"/>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0" name="Oval 29">
              <a:extLst>
                <a:ext uri="{FF2B5EF4-FFF2-40B4-BE49-F238E27FC236}">
                  <a16:creationId xmlns:a16="http://schemas.microsoft.com/office/drawing/2014/main" id="{46C90C91-8502-7DE3-74A1-AC08F13A1AFC}"/>
                </a:ext>
              </a:extLst>
            </p:cNvPr>
            <p:cNvSpPr/>
            <p:nvPr/>
          </p:nvSpPr>
          <p:spPr bwMode="auto">
            <a:xfrm>
              <a:off x="4983404" y="3035435"/>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6" name="Oval 35">
              <a:extLst>
                <a:ext uri="{FF2B5EF4-FFF2-40B4-BE49-F238E27FC236}">
                  <a16:creationId xmlns:a16="http://schemas.microsoft.com/office/drawing/2014/main" id="{DF0B5364-70DC-84DE-8339-2034D2CBF1C9}"/>
                </a:ext>
              </a:extLst>
            </p:cNvPr>
            <p:cNvSpPr/>
            <p:nvPr/>
          </p:nvSpPr>
          <p:spPr bwMode="auto">
            <a:xfrm>
              <a:off x="7414370" y="3035435"/>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7" name="Group 66">
            <a:extLst>
              <a:ext uri="{FF2B5EF4-FFF2-40B4-BE49-F238E27FC236}">
                <a16:creationId xmlns:a16="http://schemas.microsoft.com/office/drawing/2014/main" id="{EBA896FC-4ACA-3EBC-89A5-F4EFE229AE2E}"/>
              </a:ext>
            </a:extLst>
          </p:cNvPr>
          <p:cNvGrpSpPr/>
          <p:nvPr/>
        </p:nvGrpSpPr>
        <p:grpSpPr>
          <a:xfrm>
            <a:off x="3657598" y="4829819"/>
            <a:ext cx="8110313" cy="413468"/>
            <a:chOff x="2743198" y="3315693"/>
            <a:chExt cx="6082735" cy="310101"/>
          </a:xfrm>
        </p:grpSpPr>
        <p:sp>
          <p:nvSpPr>
            <p:cNvPr id="10" name="Rectangle 9">
              <a:extLst>
                <a:ext uri="{FF2B5EF4-FFF2-40B4-BE49-F238E27FC236}">
                  <a16:creationId xmlns:a16="http://schemas.microsoft.com/office/drawing/2014/main" id="{340184C7-A39E-FDAA-F332-9130E8680C65}"/>
                </a:ext>
              </a:extLst>
            </p:cNvPr>
            <p:cNvSpPr/>
            <p:nvPr/>
          </p:nvSpPr>
          <p:spPr bwMode="auto">
            <a:xfrm>
              <a:off x="2743198" y="3315693"/>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Simple Environment</a:t>
              </a:r>
            </a:p>
          </p:txBody>
        </p:sp>
        <p:sp>
          <p:nvSpPr>
            <p:cNvPr id="16" name="Rectangle 15">
              <a:extLst>
                <a:ext uri="{FF2B5EF4-FFF2-40B4-BE49-F238E27FC236}">
                  <a16:creationId xmlns:a16="http://schemas.microsoft.com/office/drawing/2014/main" id="{AEC8FE46-3C3C-BE71-4C84-81C2DBF350AD}"/>
                </a:ext>
              </a:extLst>
            </p:cNvPr>
            <p:cNvSpPr/>
            <p:nvPr/>
          </p:nvSpPr>
          <p:spPr bwMode="auto">
            <a:xfrm>
              <a:off x="8022850" y="3315693"/>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Complex Environment</a:t>
              </a:r>
            </a:p>
          </p:txBody>
        </p:sp>
        <p:cxnSp>
          <p:nvCxnSpPr>
            <p:cNvPr id="22" name="Straight Arrow Connector 21">
              <a:extLst>
                <a:ext uri="{FF2B5EF4-FFF2-40B4-BE49-F238E27FC236}">
                  <a16:creationId xmlns:a16="http://schemas.microsoft.com/office/drawing/2014/main" id="{F95C5F1D-EE2D-CD3F-6F47-3587D14932D2}"/>
                </a:ext>
              </a:extLst>
            </p:cNvPr>
            <p:cNvCxnSpPr/>
            <p:nvPr/>
          </p:nvCxnSpPr>
          <p:spPr bwMode="auto">
            <a:xfrm>
              <a:off x="3546281" y="3473394"/>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7" name="Oval 26">
              <a:extLst>
                <a:ext uri="{FF2B5EF4-FFF2-40B4-BE49-F238E27FC236}">
                  <a16:creationId xmlns:a16="http://schemas.microsoft.com/office/drawing/2014/main" id="{B04F777B-F571-3D71-53C8-3181A0781A14}"/>
                </a:ext>
              </a:extLst>
            </p:cNvPr>
            <p:cNvSpPr/>
            <p:nvPr/>
          </p:nvSpPr>
          <p:spPr bwMode="auto">
            <a:xfrm>
              <a:off x="4107104" y="3406910"/>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1" name="Oval 30">
              <a:extLst>
                <a:ext uri="{FF2B5EF4-FFF2-40B4-BE49-F238E27FC236}">
                  <a16:creationId xmlns:a16="http://schemas.microsoft.com/office/drawing/2014/main" id="{7DF8088D-3338-4771-4B0A-B01503C720B8}"/>
                </a:ext>
              </a:extLst>
            </p:cNvPr>
            <p:cNvSpPr/>
            <p:nvPr/>
          </p:nvSpPr>
          <p:spPr bwMode="auto">
            <a:xfrm>
              <a:off x="4983404" y="3406910"/>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7" name="Oval 36">
              <a:extLst>
                <a:ext uri="{FF2B5EF4-FFF2-40B4-BE49-F238E27FC236}">
                  <a16:creationId xmlns:a16="http://schemas.microsoft.com/office/drawing/2014/main" id="{9D6B949D-BEEF-EB4E-388E-BF543F3FC0E2}"/>
                </a:ext>
              </a:extLst>
            </p:cNvPr>
            <p:cNvSpPr/>
            <p:nvPr/>
          </p:nvSpPr>
          <p:spPr bwMode="auto">
            <a:xfrm>
              <a:off x="7408794" y="3406910"/>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8" name="Group 67">
            <a:extLst>
              <a:ext uri="{FF2B5EF4-FFF2-40B4-BE49-F238E27FC236}">
                <a16:creationId xmlns:a16="http://schemas.microsoft.com/office/drawing/2014/main" id="{71511668-53AD-C247-C4BB-C02F0337FED2}"/>
              </a:ext>
            </a:extLst>
          </p:cNvPr>
          <p:cNvGrpSpPr/>
          <p:nvPr/>
        </p:nvGrpSpPr>
        <p:grpSpPr>
          <a:xfrm>
            <a:off x="3657598" y="5461375"/>
            <a:ext cx="8110313" cy="413468"/>
            <a:chOff x="2743198" y="3689405"/>
            <a:chExt cx="6082735" cy="310101"/>
          </a:xfrm>
        </p:grpSpPr>
        <p:sp>
          <p:nvSpPr>
            <p:cNvPr id="12" name="Rectangle 11">
              <a:extLst>
                <a:ext uri="{FF2B5EF4-FFF2-40B4-BE49-F238E27FC236}">
                  <a16:creationId xmlns:a16="http://schemas.microsoft.com/office/drawing/2014/main" id="{292BD18D-E40E-AD72-1066-8E8FB26C7127}"/>
                </a:ext>
              </a:extLst>
            </p:cNvPr>
            <p:cNvSpPr/>
            <p:nvPr/>
          </p:nvSpPr>
          <p:spPr bwMode="auto">
            <a:xfrm>
              <a:off x="2743198" y="3689405"/>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Supervised</a:t>
              </a:r>
            </a:p>
          </p:txBody>
        </p:sp>
        <p:sp>
          <p:nvSpPr>
            <p:cNvPr id="17" name="Rectangle 16">
              <a:extLst>
                <a:ext uri="{FF2B5EF4-FFF2-40B4-BE49-F238E27FC236}">
                  <a16:creationId xmlns:a16="http://schemas.microsoft.com/office/drawing/2014/main" id="{0E7D8AFF-6F91-F8D2-E5D6-683B4B6D7271}"/>
                </a:ext>
              </a:extLst>
            </p:cNvPr>
            <p:cNvSpPr/>
            <p:nvPr/>
          </p:nvSpPr>
          <p:spPr bwMode="auto">
            <a:xfrm>
              <a:off x="8022850" y="3689405"/>
              <a:ext cx="803083" cy="310101"/>
            </a:xfrm>
            <a:prstGeom prst="rect">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000000"/>
                  </a:solidFill>
                  <a:effectLst/>
                  <a:uLnTx/>
                  <a:uFillTx/>
                  <a:latin typeface="IBM Plex Sans Light"/>
                  <a:ea typeface="+mn-ea"/>
                  <a:cs typeface="+mn-cs"/>
                </a:rPr>
                <a:t>Autonomous</a:t>
              </a:r>
            </a:p>
          </p:txBody>
        </p:sp>
        <p:cxnSp>
          <p:nvCxnSpPr>
            <p:cNvPr id="21" name="Straight Arrow Connector 20">
              <a:extLst>
                <a:ext uri="{FF2B5EF4-FFF2-40B4-BE49-F238E27FC236}">
                  <a16:creationId xmlns:a16="http://schemas.microsoft.com/office/drawing/2014/main" id="{4D1F49EE-5CBA-E36D-1D5F-3AD084ABA2A3}"/>
                </a:ext>
              </a:extLst>
            </p:cNvPr>
            <p:cNvCxnSpPr>
              <a:cxnSpLocks/>
            </p:cNvCxnSpPr>
            <p:nvPr/>
          </p:nvCxnSpPr>
          <p:spPr bwMode="auto">
            <a:xfrm>
              <a:off x="3546281" y="3844455"/>
              <a:ext cx="4476569" cy="0"/>
            </a:xfrm>
            <a:prstGeom prst="straightConnector1">
              <a:avLst/>
            </a:prstGeom>
            <a:ln w="6350">
              <a:solidFill>
                <a:schemeClr val="tx1"/>
              </a:solidFill>
              <a:headEnd type="triangle" w="sm" len="sm"/>
              <a:tailEnd type="triangle" w="sm" len="sm"/>
            </a:ln>
            <a:effectLst/>
          </p:spPr>
          <p:style>
            <a:lnRef idx="1">
              <a:schemeClr val="dk1"/>
            </a:lnRef>
            <a:fillRef idx="0">
              <a:schemeClr val="dk1"/>
            </a:fillRef>
            <a:effectRef idx="0">
              <a:schemeClr val="dk1"/>
            </a:effectRef>
            <a:fontRef idx="minor">
              <a:schemeClr val="tx1"/>
            </a:fontRef>
          </p:style>
        </p:cxnSp>
        <p:sp>
          <p:nvSpPr>
            <p:cNvPr id="28" name="Oval 27">
              <a:extLst>
                <a:ext uri="{FF2B5EF4-FFF2-40B4-BE49-F238E27FC236}">
                  <a16:creationId xmlns:a16="http://schemas.microsoft.com/office/drawing/2014/main" id="{09E7D411-6325-BA42-EACF-C171F6B67C64}"/>
                </a:ext>
              </a:extLst>
            </p:cNvPr>
            <p:cNvSpPr/>
            <p:nvPr/>
          </p:nvSpPr>
          <p:spPr bwMode="auto">
            <a:xfrm>
              <a:off x="4846879" y="3771789"/>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9" name="Oval 28">
              <a:extLst>
                <a:ext uri="{FF2B5EF4-FFF2-40B4-BE49-F238E27FC236}">
                  <a16:creationId xmlns:a16="http://schemas.microsoft.com/office/drawing/2014/main" id="{FD434ABA-265F-3DA8-A428-B23995DD18D9}"/>
                </a:ext>
              </a:extLst>
            </p:cNvPr>
            <p:cNvSpPr/>
            <p:nvPr/>
          </p:nvSpPr>
          <p:spPr bwMode="auto">
            <a:xfrm>
              <a:off x="4103929" y="3771789"/>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8" name="Oval 37">
              <a:extLst>
                <a:ext uri="{FF2B5EF4-FFF2-40B4-BE49-F238E27FC236}">
                  <a16:creationId xmlns:a16="http://schemas.microsoft.com/office/drawing/2014/main" id="{DD69748C-63FF-62FC-1366-6D7FCA1D1E4A}"/>
                </a:ext>
              </a:extLst>
            </p:cNvPr>
            <p:cNvSpPr/>
            <p:nvPr/>
          </p:nvSpPr>
          <p:spPr bwMode="auto">
            <a:xfrm>
              <a:off x="7110577" y="3771789"/>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867" b="0" i="0" u="none" strike="noStrike" kern="1200" cap="none" spc="0" normalizeH="0" baseline="0" noProof="0" dirty="0">
                <a:ln>
                  <a:noFill/>
                </a:ln>
                <a:solidFill>
                  <a:srgbClr val="FFFFFF"/>
                </a:solidFill>
                <a:effectLst/>
                <a:uLnTx/>
                <a:uFillTx/>
                <a:latin typeface="IBM Plex Sans Light"/>
                <a:ea typeface="+mn-ea"/>
                <a:cs typeface="+mn-cs"/>
              </a:endParaRPr>
            </a:p>
          </p:txBody>
        </p:sp>
      </p:grpSp>
      <p:grpSp>
        <p:nvGrpSpPr>
          <p:cNvPr id="64" name="Group 63">
            <a:extLst>
              <a:ext uri="{FF2B5EF4-FFF2-40B4-BE49-F238E27FC236}">
                <a16:creationId xmlns:a16="http://schemas.microsoft.com/office/drawing/2014/main" id="{BF155666-9DEA-567C-5C6C-1B21B0088DFC}"/>
              </a:ext>
            </a:extLst>
          </p:cNvPr>
          <p:cNvGrpSpPr/>
          <p:nvPr/>
        </p:nvGrpSpPr>
        <p:grpSpPr>
          <a:xfrm>
            <a:off x="3657598" y="2280698"/>
            <a:ext cx="8110313" cy="618517"/>
            <a:chOff x="2743198" y="1846663"/>
            <a:chExt cx="6082735" cy="463888"/>
          </a:xfrm>
        </p:grpSpPr>
        <p:sp>
          <p:nvSpPr>
            <p:cNvPr id="44" name="Rectangle 43">
              <a:extLst>
                <a:ext uri="{FF2B5EF4-FFF2-40B4-BE49-F238E27FC236}">
                  <a16:creationId xmlns:a16="http://schemas.microsoft.com/office/drawing/2014/main" id="{D164D3FE-876E-B14B-A21C-D2E69B3AA6A5}"/>
                </a:ext>
              </a:extLst>
            </p:cNvPr>
            <p:cNvSpPr/>
            <p:nvPr/>
          </p:nvSpPr>
          <p:spPr bwMode="auto">
            <a:xfrm>
              <a:off x="2743198" y="1846663"/>
              <a:ext cx="803083" cy="310101"/>
            </a:xfrm>
            <a:prstGeom prst="rect">
              <a:avLst/>
            </a:prstGeom>
            <a:solidFill>
              <a:schemeClr val="bg1"/>
            </a:solidFill>
            <a:ln w="19050">
              <a:solidFill>
                <a:srgbClr val="E0E0E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000000"/>
                  </a:solidFill>
                  <a:effectLst/>
                  <a:uLnTx/>
                  <a:uFillTx/>
                  <a:latin typeface="IBM Plex Sans Light"/>
                  <a:ea typeface="+mn-ea"/>
                  <a:cs typeface="+mn-cs"/>
                </a:rPr>
                <a:t>Low Agency</a:t>
              </a:r>
            </a:p>
          </p:txBody>
        </p:sp>
        <p:sp>
          <p:nvSpPr>
            <p:cNvPr id="45" name="Rectangle 44">
              <a:extLst>
                <a:ext uri="{FF2B5EF4-FFF2-40B4-BE49-F238E27FC236}">
                  <a16:creationId xmlns:a16="http://schemas.microsoft.com/office/drawing/2014/main" id="{5E684D98-4177-7398-61B3-7C3FBB9C05A5}"/>
                </a:ext>
              </a:extLst>
            </p:cNvPr>
            <p:cNvSpPr/>
            <p:nvPr/>
          </p:nvSpPr>
          <p:spPr bwMode="auto">
            <a:xfrm>
              <a:off x="8022850" y="1846663"/>
              <a:ext cx="803083" cy="310101"/>
            </a:xfrm>
            <a:prstGeom prst="rect">
              <a:avLst/>
            </a:prstGeom>
            <a:solidFill>
              <a:schemeClr val="bg1"/>
            </a:solidFill>
            <a:ln w="19050">
              <a:solidFill>
                <a:srgbClr val="E0E0E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srgbClr val="000000"/>
                  </a:solidFill>
                  <a:effectLst/>
                  <a:uLnTx/>
                  <a:uFillTx/>
                  <a:latin typeface="IBM Plex Sans Light"/>
                  <a:ea typeface="+mn-ea"/>
                  <a:cs typeface="+mn-cs"/>
                </a:rPr>
                <a:t>High Agency</a:t>
              </a:r>
            </a:p>
          </p:txBody>
        </p:sp>
        <p:grpSp>
          <p:nvGrpSpPr>
            <p:cNvPr id="49" name="Group 48">
              <a:extLst>
                <a:ext uri="{FF2B5EF4-FFF2-40B4-BE49-F238E27FC236}">
                  <a16:creationId xmlns:a16="http://schemas.microsoft.com/office/drawing/2014/main" id="{3236EACC-4D86-8242-8BAB-7D803DC86AB5}"/>
                </a:ext>
              </a:extLst>
            </p:cNvPr>
            <p:cNvGrpSpPr/>
            <p:nvPr/>
          </p:nvGrpSpPr>
          <p:grpSpPr>
            <a:xfrm>
              <a:off x="4602404" y="2048796"/>
              <a:ext cx="2947436" cy="261755"/>
              <a:chOff x="4602404" y="2048796"/>
              <a:chExt cx="2947436" cy="261755"/>
            </a:xfrm>
          </p:grpSpPr>
          <p:sp>
            <p:nvSpPr>
              <p:cNvPr id="46" name="Left-right Arrow 45">
                <a:extLst>
                  <a:ext uri="{FF2B5EF4-FFF2-40B4-BE49-F238E27FC236}">
                    <a16:creationId xmlns:a16="http://schemas.microsoft.com/office/drawing/2014/main" id="{F5793480-241D-2265-280D-A8EBDADB033E}"/>
                  </a:ext>
                </a:extLst>
              </p:cNvPr>
              <p:cNvSpPr/>
              <p:nvPr/>
            </p:nvSpPr>
            <p:spPr bwMode="auto">
              <a:xfrm>
                <a:off x="4602404" y="2048796"/>
                <a:ext cx="2947436" cy="261755"/>
              </a:xfrm>
              <a:prstGeom prst="leftRightArrow">
                <a:avLst>
                  <a:gd name="adj1" fmla="val 75402"/>
                  <a:gd name="adj2" fmla="val 50000"/>
                </a:avLst>
              </a:prstGeom>
              <a:solidFill>
                <a:srgbClr val="52525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1067" b="1" i="0" u="none" strike="noStrike" kern="1200" cap="none" spc="0" normalizeH="0" baseline="0" noProof="0">
                  <a:ln>
                    <a:noFill/>
                  </a:ln>
                  <a:solidFill>
                    <a:srgbClr val="FFFFFF"/>
                  </a:solidFill>
                  <a:effectLst/>
                  <a:uLnTx/>
                  <a:uFillTx/>
                  <a:latin typeface="IBM Plex Sans Light"/>
                  <a:ea typeface="+mn-ea"/>
                  <a:cs typeface="+mn-cs"/>
                </a:endParaRPr>
              </a:p>
            </p:txBody>
          </p:sp>
          <p:sp>
            <p:nvSpPr>
              <p:cNvPr id="48" name="TextBox 47">
                <a:extLst>
                  <a:ext uri="{FF2B5EF4-FFF2-40B4-BE49-F238E27FC236}">
                    <a16:creationId xmlns:a16="http://schemas.microsoft.com/office/drawing/2014/main" id="{EF63F71A-ADDE-0893-19E9-2ABB56199BE2}"/>
                  </a:ext>
                </a:extLst>
              </p:cNvPr>
              <p:cNvSpPr txBox="1"/>
              <p:nvPr/>
            </p:nvSpPr>
            <p:spPr>
              <a:xfrm>
                <a:off x="5156702" y="2048868"/>
                <a:ext cx="1838840" cy="23083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IBM Plex Sans Light"/>
                    <a:ea typeface="+mn-ea"/>
                    <a:cs typeface="+mn-cs"/>
                  </a:rPr>
                  <a:t>AI Agency Gap</a:t>
                </a:r>
              </a:p>
            </p:txBody>
          </p:sp>
        </p:grpSp>
      </p:grpSp>
      <p:sp>
        <p:nvSpPr>
          <p:cNvPr id="50" name="TextBox 49">
            <a:extLst>
              <a:ext uri="{FF2B5EF4-FFF2-40B4-BE49-F238E27FC236}">
                <a16:creationId xmlns:a16="http://schemas.microsoft.com/office/drawing/2014/main" id="{13A16A32-4DAC-FDB7-FE1D-C2FEEBCE3166}"/>
              </a:ext>
            </a:extLst>
          </p:cNvPr>
          <p:cNvSpPr txBox="1"/>
          <p:nvPr/>
        </p:nvSpPr>
        <p:spPr>
          <a:xfrm>
            <a:off x="3657597" y="1104025"/>
            <a:ext cx="3073671" cy="3490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defPPr>
              <a:defRPr lang="en-US"/>
            </a:defPPr>
            <a:lvl1pPr marR="0" lvl="0" indent="0" defTabSz="914400" fontAlgn="auto">
              <a:lnSpc>
                <a:spcPct val="110000"/>
              </a:lnSpc>
              <a:spcBef>
                <a:spcPts val="0"/>
              </a:spcBef>
              <a:spcAft>
                <a:spcPts val="0"/>
              </a:spcAft>
              <a:buClrTx/>
              <a:buSzTx/>
              <a:buFontTx/>
              <a:buNone/>
              <a:tabLst/>
              <a:defRPr kumimoji="0" sz="900" b="0" i="0" u="none" strike="noStrike" kern="0" cap="none" spc="0" normalizeH="0" baseline="0">
                <a:ln>
                  <a:noFill/>
                </a:ln>
                <a:solidFill>
                  <a:srgbClr val="000000"/>
                </a:solidFill>
                <a:effectLst/>
                <a:uLnTx/>
                <a:uFillTx/>
                <a:ea typeface="+mj-ea"/>
                <a:cs typeface="+mj-cs"/>
              </a:defRPr>
            </a:lvl1pPr>
            <a:lvl2pPr marL="256032" marR="0" indent="-256032" defTabSz="2438400">
              <a:lnSpc>
                <a:spcPct val="110000"/>
              </a:lnSpc>
              <a:spcBef>
                <a:spcPts val="0"/>
              </a:spcBef>
              <a:spcAft>
                <a:spcPts val="0"/>
              </a:spcAft>
              <a:buClrTx/>
              <a:buSzPct val="100000"/>
              <a:buFontTx/>
              <a:buChar char="–"/>
              <a:tabLst/>
              <a:defRPr sz="2400" b="0" i="0" u="none" strike="noStrike" cap="none" spc="0" baseline="0">
                <a:uFillTx/>
                <a:latin typeface="+mj-lt"/>
                <a:ea typeface="+mj-ea"/>
                <a:cs typeface="+mj-cs"/>
              </a:defRPr>
            </a:lvl2pPr>
            <a:lvl3pPr marL="512064" marR="0" indent="-256032" defTabSz="2438400">
              <a:lnSpc>
                <a:spcPct val="110000"/>
              </a:lnSpc>
              <a:spcBef>
                <a:spcPts val="0"/>
              </a:spcBef>
              <a:spcAft>
                <a:spcPts val="0"/>
              </a:spcAft>
              <a:buClrTx/>
              <a:buSzPct val="100000"/>
              <a:buFontTx/>
              <a:buChar char="•"/>
              <a:tabLst/>
              <a:defRPr sz="2400" b="0" i="0" u="none" strike="noStrike" cap="none" spc="0" baseline="0">
                <a:uFillTx/>
                <a:latin typeface="+mj-lt"/>
                <a:ea typeface="+mj-ea"/>
                <a:cs typeface="+mj-cs"/>
              </a:defRPr>
            </a:lvl3pPr>
            <a:lvl4pPr marL="768096" marR="0" indent="-256032" defTabSz="2438400">
              <a:lnSpc>
                <a:spcPct val="110000"/>
              </a:lnSpc>
              <a:spcBef>
                <a:spcPts val="0"/>
              </a:spcBef>
              <a:spcAft>
                <a:spcPts val="0"/>
              </a:spcAft>
              <a:buClrTx/>
              <a:buSzPct val="100000"/>
              <a:buFontTx/>
              <a:buChar char="–"/>
              <a:tabLst/>
              <a:defRPr sz="2400" b="0" i="0" u="none" strike="noStrike" cap="none" spc="0" baseline="0">
                <a:uFillTx/>
                <a:latin typeface="+mj-lt"/>
                <a:ea typeface="+mj-ea"/>
                <a:cs typeface="+mj-cs"/>
              </a:defRPr>
            </a:lvl4pPr>
            <a:lvl5pPr marL="1143000" marR="0" indent="-457200" defTabSz="2438400">
              <a:lnSpc>
                <a:spcPct val="110000"/>
              </a:lnSpc>
              <a:spcBef>
                <a:spcPts val="0"/>
              </a:spcBef>
              <a:spcAft>
                <a:spcPts val="0"/>
              </a:spcAft>
              <a:buClrTx/>
              <a:buSzPct val="100000"/>
              <a:buFont typeface="Arial" panose="020B0604020202020204" pitchFamily="34" charset="0"/>
              <a:buChar char="•"/>
              <a:tabLst/>
              <a:defRPr sz="2800" b="0" i="0" u="none" strike="noStrike" cap="none" spc="0" baseline="0">
                <a:uFillTx/>
                <a:latin typeface="+mj-lt"/>
                <a:ea typeface="+mj-ea"/>
                <a:cs typeface="+mj-cs"/>
              </a:defRPr>
            </a:lvl5pPr>
            <a:lvl6pPr marL="1843060" marR="0" indent="-389009" defTabSz="243840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defRPr>
            </a:lvl6pPr>
            <a:lvl7pPr marL="2205631" marR="0" indent="-389009" defTabSz="243840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defRPr>
            </a:lvl7pPr>
            <a:lvl8pPr marL="2568200" marR="0" indent="-389009" defTabSz="243840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defRPr>
            </a:lvl8pPr>
            <a:lvl9pPr marL="2930769" marR="0" indent="-389009" defTabSz="243840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defRPr>
            </a:lvl9p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IBM Plex Sans Light"/>
                <a:ea typeface="+mj-ea"/>
                <a:cs typeface="+mj-cs"/>
              </a:rPr>
              <a:t>Mind the AI Agency Gap</a:t>
            </a:r>
          </a:p>
        </p:txBody>
      </p:sp>
      <p:grpSp>
        <p:nvGrpSpPr>
          <p:cNvPr id="62" name="Group 61">
            <a:extLst>
              <a:ext uri="{FF2B5EF4-FFF2-40B4-BE49-F238E27FC236}">
                <a16:creationId xmlns:a16="http://schemas.microsoft.com/office/drawing/2014/main" id="{31F24C58-F1EE-5A46-1D41-854FFA2A1499}"/>
              </a:ext>
            </a:extLst>
          </p:cNvPr>
          <p:cNvGrpSpPr/>
          <p:nvPr/>
        </p:nvGrpSpPr>
        <p:grpSpPr>
          <a:xfrm>
            <a:off x="3657596" y="1572964"/>
            <a:ext cx="5487256" cy="259545"/>
            <a:chOff x="2743197" y="1210645"/>
            <a:chExt cx="4115442" cy="194659"/>
          </a:xfrm>
        </p:grpSpPr>
        <p:grpSp>
          <p:nvGrpSpPr>
            <p:cNvPr id="55" name="Group 54">
              <a:extLst>
                <a:ext uri="{FF2B5EF4-FFF2-40B4-BE49-F238E27FC236}">
                  <a16:creationId xmlns:a16="http://schemas.microsoft.com/office/drawing/2014/main" id="{2009C521-D0EC-4C84-DA60-0229B41296BA}"/>
                </a:ext>
              </a:extLst>
            </p:cNvPr>
            <p:cNvGrpSpPr/>
            <p:nvPr/>
          </p:nvGrpSpPr>
          <p:grpSpPr>
            <a:xfrm>
              <a:off x="2743197" y="1210645"/>
              <a:ext cx="4115442" cy="176788"/>
              <a:chOff x="3074216" y="4150351"/>
              <a:chExt cx="4115442" cy="176788"/>
            </a:xfrm>
          </p:grpSpPr>
          <p:sp>
            <p:nvSpPr>
              <p:cNvPr id="51" name="文本占位符 3">
                <a:extLst>
                  <a:ext uri="{FF2B5EF4-FFF2-40B4-BE49-F238E27FC236}">
                    <a16:creationId xmlns:a16="http://schemas.microsoft.com/office/drawing/2014/main" id="{6EBE3D88-A384-8003-2392-B41DA4DE0CE6}"/>
                  </a:ext>
                </a:extLst>
              </p:cNvPr>
              <p:cNvSpPr txBox="1">
                <a:spLocks/>
              </p:cNvSpPr>
              <p:nvPr/>
            </p:nvSpPr>
            <p:spPr>
              <a:xfrm>
                <a:off x="6406086" y="4150351"/>
                <a:ext cx="783572" cy="17678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24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000000"/>
                    </a:solidFill>
                    <a:effectLst/>
                    <a:uLnTx/>
                    <a:uFillTx/>
                    <a:latin typeface="IBM Plex Sans Light"/>
                    <a:ea typeface="+mj-ea"/>
                    <a:cs typeface="+mj-cs"/>
                    <a:sym typeface="IBM Plex Sans Light"/>
                  </a:rPr>
                  <a:t>Human Agency</a:t>
                </a:r>
                <a:endParaRPr kumimoji="0" lang="en-US" altLang="zh-CN" sz="1333"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
            <p:nvSpPr>
              <p:cNvPr id="54" name="Oval 53">
                <a:extLst>
                  <a:ext uri="{FF2B5EF4-FFF2-40B4-BE49-F238E27FC236}">
                    <a16:creationId xmlns:a16="http://schemas.microsoft.com/office/drawing/2014/main" id="{D8DEA2BF-4434-FE94-6FBF-55F9379F67D7}"/>
                  </a:ext>
                </a:extLst>
              </p:cNvPr>
              <p:cNvSpPr/>
              <p:nvPr/>
            </p:nvSpPr>
            <p:spPr bwMode="auto">
              <a:xfrm>
                <a:off x="3074216" y="4186093"/>
                <a:ext cx="141046" cy="141046"/>
              </a:xfrm>
              <a:prstGeom prst="ellipse">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IBM Plex Sans Light"/>
                  <a:ea typeface="+mn-ea"/>
                  <a:cs typeface="+mn-cs"/>
                </a:endParaRPr>
              </a:p>
            </p:txBody>
          </p:sp>
        </p:grpSp>
        <p:grpSp>
          <p:nvGrpSpPr>
            <p:cNvPr id="56" name="Group 55">
              <a:extLst>
                <a:ext uri="{FF2B5EF4-FFF2-40B4-BE49-F238E27FC236}">
                  <a16:creationId xmlns:a16="http://schemas.microsoft.com/office/drawing/2014/main" id="{D421BAFA-0EC0-E308-A232-F64149FF080E}"/>
                </a:ext>
              </a:extLst>
            </p:cNvPr>
            <p:cNvGrpSpPr/>
            <p:nvPr/>
          </p:nvGrpSpPr>
          <p:grpSpPr>
            <a:xfrm>
              <a:off x="2949441" y="1228516"/>
              <a:ext cx="1476918" cy="176788"/>
              <a:chOff x="2065603" y="4168222"/>
              <a:chExt cx="1476918" cy="176788"/>
            </a:xfrm>
          </p:grpSpPr>
          <p:sp>
            <p:nvSpPr>
              <p:cNvPr id="57" name="文本占位符 3">
                <a:extLst>
                  <a:ext uri="{FF2B5EF4-FFF2-40B4-BE49-F238E27FC236}">
                    <a16:creationId xmlns:a16="http://schemas.microsoft.com/office/drawing/2014/main" id="{09551C52-939E-3972-DC04-578EA0A7E9CD}"/>
                  </a:ext>
                </a:extLst>
              </p:cNvPr>
              <p:cNvSpPr txBox="1">
                <a:spLocks/>
              </p:cNvSpPr>
              <p:nvPr/>
            </p:nvSpPr>
            <p:spPr>
              <a:xfrm>
                <a:off x="2065603" y="4168222"/>
                <a:ext cx="1187803" cy="17678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24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000000"/>
                    </a:solidFill>
                    <a:effectLst/>
                    <a:uLnTx/>
                    <a:uFillTx/>
                    <a:latin typeface="IBM Plex Sans Light"/>
                    <a:ea typeface="+mj-ea"/>
                    <a:cs typeface="+mj-cs"/>
                    <a:sym typeface="IBM Plex Sans Light"/>
                  </a:rPr>
                  <a:t>Deterministic Chatbots</a:t>
                </a:r>
                <a:endParaRPr kumimoji="0" lang="en-US" altLang="zh-CN" sz="1333"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
            <p:nvSpPr>
              <p:cNvPr id="58" name="Oval 57">
                <a:extLst>
                  <a:ext uri="{FF2B5EF4-FFF2-40B4-BE49-F238E27FC236}">
                    <a16:creationId xmlns:a16="http://schemas.microsoft.com/office/drawing/2014/main" id="{02F7AEE2-EB57-53BE-B466-ACA398010AE8}"/>
                  </a:ext>
                </a:extLst>
              </p:cNvPr>
              <p:cNvSpPr/>
              <p:nvPr/>
            </p:nvSpPr>
            <p:spPr bwMode="auto">
              <a:xfrm>
                <a:off x="3401475" y="4186093"/>
                <a:ext cx="141046" cy="141046"/>
              </a:xfrm>
              <a:prstGeom prst="ellipse">
                <a:avLst/>
              </a:prstGeom>
              <a:solidFill>
                <a:schemeClr val="accent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IBM Plex Sans Light"/>
                  <a:ea typeface="+mn-ea"/>
                  <a:cs typeface="+mn-cs"/>
                </a:endParaRPr>
              </a:p>
            </p:txBody>
          </p:sp>
        </p:grpSp>
        <p:grpSp>
          <p:nvGrpSpPr>
            <p:cNvPr id="59" name="Group 58">
              <a:extLst>
                <a:ext uri="{FF2B5EF4-FFF2-40B4-BE49-F238E27FC236}">
                  <a16:creationId xmlns:a16="http://schemas.microsoft.com/office/drawing/2014/main" id="{763B3B19-ED5D-7C42-F3CB-59A703EE9211}"/>
                </a:ext>
              </a:extLst>
            </p:cNvPr>
            <p:cNvGrpSpPr/>
            <p:nvPr/>
          </p:nvGrpSpPr>
          <p:grpSpPr>
            <a:xfrm>
              <a:off x="4512254" y="1228516"/>
              <a:ext cx="1463385" cy="176788"/>
              <a:chOff x="2009330" y="4168222"/>
              <a:chExt cx="1463385" cy="176788"/>
            </a:xfrm>
          </p:grpSpPr>
          <p:sp>
            <p:nvSpPr>
              <p:cNvPr id="60" name="文本占位符 3">
                <a:extLst>
                  <a:ext uri="{FF2B5EF4-FFF2-40B4-BE49-F238E27FC236}">
                    <a16:creationId xmlns:a16="http://schemas.microsoft.com/office/drawing/2014/main" id="{1E61C566-D77E-4885-F9FA-0BBCD276FC57}"/>
                  </a:ext>
                </a:extLst>
              </p:cNvPr>
              <p:cNvSpPr txBox="1">
                <a:spLocks/>
              </p:cNvSpPr>
              <p:nvPr/>
            </p:nvSpPr>
            <p:spPr>
              <a:xfrm>
                <a:off x="2009330" y="4168222"/>
                <a:ext cx="1187803" cy="17678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24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4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US" altLang="zh-CN" sz="1200" b="0" i="0" u="none" strike="noStrike" kern="0" cap="none" spc="0" normalizeH="0" baseline="0" noProof="0">
                    <a:ln>
                      <a:noFill/>
                    </a:ln>
                    <a:solidFill>
                      <a:srgbClr val="000000"/>
                    </a:solidFill>
                    <a:effectLst/>
                    <a:uLnTx/>
                    <a:uFillTx/>
                    <a:latin typeface="IBM Plex Sans Light"/>
                    <a:ea typeface="+mj-ea"/>
                    <a:cs typeface="+mj-cs"/>
                    <a:sym typeface="IBM Plex Sans Light"/>
                  </a:rPr>
                  <a:t>LLM-based Assistants</a:t>
                </a:r>
                <a:endParaRPr kumimoji="0" lang="en-US" altLang="zh-CN" sz="1333" b="0" i="0" u="none" strike="noStrike" kern="0" cap="none" spc="0" normalizeH="0" baseline="0" noProof="0">
                  <a:ln>
                    <a:noFill/>
                  </a:ln>
                  <a:solidFill>
                    <a:srgbClr val="000000"/>
                  </a:solidFill>
                  <a:effectLst/>
                  <a:uLnTx/>
                  <a:uFillTx/>
                  <a:latin typeface="IBM Plex Sans Light"/>
                  <a:ea typeface="+mj-ea"/>
                  <a:cs typeface="+mj-cs"/>
                  <a:sym typeface="IBM Plex Sans Light"/>
                </a:endParaRPr>
              </a:p>
            </p:txBody>
          </p:sp>
          <p:sp>
            <p:nvSpPr>
              <p:cNvPr id="61" name="Oval 60">
                <a:extLst>
                  <a:ext uri="{FF2B5EF4-FFF2-40B4-BE49-F238E27FC236}">
                    <a16:creationId xmlns:a16="http://schemas.microsoft.com/office/drawing/2014/main" id="{9A5C21F8-5BDE-3EEA-4667-6EEDD5309F49}"/>
                  </a:ext>
                </a:extLst>
              </p:cNvPr>
              <p:cNvSpPr/>
              <p:nvPr/>
            </p:nvSpPr>
            <p:spPr bwMode="auto">
              <a:xfrm>
                <a:off x="3331669" y="4186093"/>
                <a:ext cx="141046" cy="141046"/>
              </a:xfrm>
              <a:prstGeom prst="ellipse">
                <a:avLst/>
              </a:prstGeom>
              <a:solidFill>
                <a:schemeClr val="accent3"/>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IBM Plex Sans Light"/>
                  <a:ea typeface="+mn-ea"/>
                  <a:cs typeface="+mn-cs"/>
                </a:endParaRPr>
              </a:p>
            </p:txBody>
          </p:sp>
        </p:grpSp>
      </p:grpSp>
      <p:sp>
        <p:nvSpPr>
          <p:cNvPr id="70" name="Freeform 69">
            <a:extLst>
              <a:ext uri="{FF2B5EF4-FFF2-40B4-BE49-F238E27FC236}">
                <a16:creationId xmlns:a16="http://schemas.microsoft.com/office/drawing/2014/main" id="{B369123D-4D86-1FB3-54F7-29205343BFF0}"/>
              </a:ext>
            </a:extLst>
          </p:cNvPr>
          <p:cNvSpPr/>
          <p:nvPr/>
        </p:nvSpPr>
        <p:spPr bwMode="auto">
          <a:xfrm>
            <a:off x="5073182" y="3125735"/>
            <a:ext cx="1505589" cy="2536591"/>
          </a:xfrm>
          <a:custGeom>
            <a:avLst/>
            <a:gdLst>
              <a:gd name="connsiteX0" fmla="*/ 0 w 1129192"/>
              <a:gd name="connsiteY0" fmla="*/ 0 h 1902443"/>
              <a:gd name="connsiteX1" fmla="*/ 0 w 1129192"/>
              <a:gd name="connsiteY1" fmla="*/ 509363 h 1902443"/>
              <a:gd name="connsiteX2" fmla="*/ 374352 w 1129192"/>
              <a:gd name="connsiteY2" fmla="*/ 981906 h 1902443"/>
              <a:gd name="connsiteX3" fmla="*/ 374352 w 1129192"/>
              <a:gd name="connsiteY3" fmla="*/ 1442174 h 1902443"/>
              <a:gd name="connsiteX4" fmla="*/ 1129192 w 1129192"/>
              <a:gd name="connsiteY4" fmla="*/ 1902443 h 1902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192" h="1902443">
                <a:moveTo>
                  <a:pt x="0" y="0"/>
                </a:moveTo>
                <a:lnTo>
                  <a:pt x="0" y="509363"/>
                </a:lnTo>
                <a:lnTo>
                  <a:pt x="374352" y="981906"/>
                </a:lnTo>
                <a:lnTo>
                  <a:pt x="374352" y="1442174"/>
                </a:lnTo>
                <a:lnTo>
                  <a:pt x="1129192" y="1902443"/>
                </a:lnTo>
              </a:path>
            </a:pathLst>
          </a:custGeom>
          <a:noFill/>
          <a:ln w="3492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66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71" name="Freeform 70">
            <a:extLst>
              <a:ext uri="{FF2B5EF4-FFF2-40B4-BE49-F238E27FC236}">
                <a16:creationId xmlns:a16="http://schemas.microsoft.com/office/drawing/2014/main" id="{3F2BC87C-9683-356D-2D06-A59A6F47A829}"/>
              </a:ext>
            </a:extLst>
          </p:cNvPr>
          <p:cNvSpPr/>
          <p:nvPr/>
        </p:nvSpPr>
        <p:spPr bwMode="auto">
          <a:xfrm>
            <a:off x="5580499" y="3142100"/>
            <a:ext cx="1161923" cy="2528409"/>
          </a:xfrm>
          <a:custGeom>
            <a:avLst/>
            <a:gdLst>
              <a:gd name="connsiteX0" fmla="*/ 484817 w 871442"/>
              <a:gd name="connsiteY0" fmla="*/ 0 h 1896307"/>
              <a:gd name="connsiteX1" fmla="*/ 484817 w 871442"/>
              <a:gd name="connsiteY1" fmla="*/ 484817 h 1896307"/>
              <a:gd name="connsiteX2" fmla="*/ 871442 w 871442"/>
              <a:gd name="connsiteY2" fmla="*/ 951222 h 1896307"/>
              <a:gd name="connsiteX3" fmla="*/ 871442 w 871442"/>
              <a:gd name="connsiteY3" fmla="*/ 1417627 h 1896307"/>
              <a:gd name="connsiteX4" fmla="*/ 0 w 871442"/>
              <a:gd name="connsiteY4" fmla="*/ 1896307 h 1896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442" h="1896307">
                <a:moveTo>
                  <a:pt x="484817" y="0"/>
                </a:moveTo>
                <a:lnTo>
                  <a:pt x="484817" y="484817"/>
                </a:lnTo>
                <a:lnTo>
                  <a:pt x="871442" y="951222"/>
                </a:lnTo>
                <a:lnTo>
                  <a:pt x="871442" y="1417627"/>
                </a:lnTo>
                <a:lnTo>
                  <a:pt x="0" y="1896307"/>
                </a:lnTo>
              </a:path>
            </a:pathLst>
          </a:custGeom>
          <a:noFill/>
          <a:ln w="34925">
            <a:solidFill>
              <a:schemeClr val="accent4"/>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66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72" name="Freeform 71">
            <a:extLst>
              <a:ext uri="{FF2B5EF4-FFF2-40B4-BE49-F238E27FC236}">
                <a16:creationId xmlns:a16="http://schemas.microsoft.com/office/drawing/2014/main" id="{14332534-8214-2244-08D4-136D0113C187}"/>
              </a:ext>
            </a:extLst>
          </p:cNvPr>
          <p:cNvSpPr/>
          <p:nvPr/>
        </p:nvSpPr>
        <p:spPr bwMode="auto">
          <a:xfrm>
            <a:off x="9557220" y="3133918"/>
            <a:ext cx="441857" cy="2536591"/>
          </a:xfrm>
          <a:custGeom>
            <a:avLst/>
            <a:gdLst>
              <a:gd name="connsiteX0" fmla="*/ 325256 w 331393"/>
              <a:gd name="connsiteY0" fmla="*/ 0 h 1902443"/>
              <a:gd name="connsiteX1" fmla="*/ 6137 w 331393"/>
              <a:gd name="connsiteY1" fmla="*/ 490953 h 1902443"/>
              <a:gd name="connsiteX2" fmla="*/ 331393 w 331393"/>
              <a:gd name="connsiteY2" fmla="*/ 963495 h 1902443"/>
              <a:gd name="connsiteX3" fmla="*/ 331393 w 331393"/>
              <a:gd name="connsiteY3" fmla="*/ 1429900 h 1902443"/>
              <a:gd name="connsiteX4" fmla="*/ 0 w 331393"/>
              <a:gd name="connsiteY4" fmla="*/ 1902443 h 1902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393" h="1902443">
                <a:moveTo>
                  <a:pt x="325256" y="0"/>
                </a:moveTo>
                <a:lnTo>
                  <a:pt x="6137" y="490953"/>
                </a:lnTo>
                <a:lnTo>
                  <a:pt x="331393" y="963495"/>
                </a:lnTo>
                <a:lnTo>
                  <a:pt x="331393" y="1429900"/>
                </a:lnTo>
                <a:lnTo>
                  <a:pt x="0" y="1902443"/>
                </a:lnTo>
              </a:path>
            </a:pathLst>
          </a:custGeom>
          <a:noFill/>
          <a:ln w="34925">
            <a:solidFill>
              <a:schemeClr val="accent3"/>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666"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6" name="Textfeld 5">
            <a:extLst>
              <a:ext uri="{FF2B5EF4-FFF2-40B4-BE49-F238E27FC236}">
                <a16:creationId xmlns:a16="http://schemas.microsoft.com/office/drawing/2014/main" id="{589836B4-1CF2-C7E5-D9D5-B04D841EDE90}"/>
              </a:ext>
            </a:extLst>
          </p:cNvPr>
          <p:cNvSpPr txBox="1"/>
          <p:nvPr/>
        </p:nvSpPr>
        <p:spPr>
          <a:xfrm>
            <a:off x="284880" y="232607"/>
            <a:ext cx="2660027" cy="156966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45718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Agentic AI closes the gap between chat bots and humans </a:t>
            </a:r>
            <a:r>
              <a:rPr kumimoji="0" lang="en-US" sz="2400" b="0" i="0" u="none" strike="noStrike" kern="1200" cap="none" spc="0" normalizeH="0" baseline="30000" noProof="0" dirty="0">
                <a:ln>
                  <a:noFill/>
                </a:ln>
                <a:solidFill>
                  <a:srgbClr val="000000"/>
                </a:solidFill>
                <a:effectLst/>
                <a:uLnTx/>
                <a:uFillTx/>
                <a:latin typeface="IBM Plex Sans Light" panose="020B0403050203000203" pitchFamily="34" charset="0"/>
                <a:ea typeface="+mn-ea"/>
                <a:cs typeface="+mn-cs"/>
              </a:rPr>
              <a:t>1</a:t>
            </a:r>
            <a:endParaRPr kumimoji="0" lang="en-US" sz="2400" b="0" i="0" u="none" strike="noStrike" kern="0" cap="none" spc="0" normalizeH="0" baseline="30000" noProof="0" dirty="0">
              <a:ln>
                <a:noFill/>
              </a:ln>
              <a:solidFill>
                <a:srgbClr val="0F62FE"/>
              </a:solidFill>
              <a:effectLst/>
              <a:uLnTx/>
              <a:uFillTx/>
              <a:latin typeface="IBM Plex Sans Light" panose="020B0403050203000203" pitchFamily="34" charset="0"/>
              <a:ea typeface="+mn-ea"/>
              <a:cs typeface="+mn-cs"/>
            </a:endParaRPr>
          </a:p>
        </p:txBody>
      </p:sp>
      <p:sp>
        <p:nvSpPr>
          <p:cNvPr id="39" name="TextBox 55">
            <a:extLst>
              <a:ext uri="{FF2B5EF4-FFF2-40B4-BE49-F238E27FC236}">
                <a16:creationId xmlns:a16="http://schemas.microsoft.com/office/drawing/2014/main" id="{045B62F4-FE6F-D633-3885-0AA5C4E41CA7}"/>
              </a:ext>
            </a:extLst>
          </p:cNvPr>
          <p:cNvSpPr txBox="1"/>
          <p:nvPr/>
        </p:nvSpPr>
        <p:spPr>
          <a:xfrm>
            <a:off x="127380" y="6018239"/>
            <a:ext cx="2975025" cy="2051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733" b="0" i="0" u="none" strike="noStrike" kern="1200" cap="none" spc="0" normalizeH="0" baseline="30000" noProof="0" dirty="0">
                <a:ln>
                  <a:noFill/>
                </a:ln>
                <a:solidFill>
                  <a:srgbClr val="000000"/>
                </a:solidFill>
                <a:effectLst/>
                <a:uLnTx/>
                <a:uFillTx/>
                <a:latin typeface="IBM Plex Sans Light" panose="020B0403050203000203" pitchFamily="34" charset="0"/>
                <a:ea typeface="+mn-ea"/>
                <a:cs typeface="+mn-cs"/>
              </a:rPr>
              <a:t>1 </a:t>
            </a:r>
            <a:r>
              <a:rPr kumimoji="0" lang="de-DE" sz="733"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Gartner Top Strategic Technology Trends for 2025: Agentic AI</a:t>
            </a:r>
          </a:p>
        </p:txBody>
      </p:sp>
      <p:sp>
        <p:nvSpPr>
          <p:cNvPr id="2" name="Footer Placeholder 1">
            <a:extLst>
              <a:ext uri="{FF2B5EF4-FFF2-40B4-BE49-F238E27FC236}">
                <a16:creationId xmlns:a16="http://schemas.microsoft.com/office/drawing/2014/main" id="{456D245E-0775-4006-3824-51B4F6C2D0BA}"/>
              </a:ext>
            </a:extLst>
          </p:cNvPr>
          <p:cNvSpPr>
            <a:spLocks noGrp="1"/>
          </p:cNvSpPr>
          <p:nvPr>
            <p:ph type="ftr" sz="quarter" idx="3"/>
          </p:nvPr>
        </p:nvSpPr>
        <p:spPr>
          <a:xfrm>
            <a:off x="284880" y="6374169"/>
            <a:ext cx="2477765" cy="1905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503050203000203" pitchFamily="34" charset="0"/>
                <a:ea typeface="+mn-ea"/>
                <a:cs typeface="Arial" panose="020B0604020202020204" pitchFamily="34" charset="0"/>
              </a:rPr>
              <a:t>© 2025 cloudflight / IBM Corporation </a:t>
            </a:r>
            <a:endParaRPr kumimoji="0" lang="en-US" sz="800" b="0" i="0" u="none" strike="noStrike" kern="1200" cap="none" spc="0" normalizeH="0" baseline="0" noProof="0" dirty="0">
              <a:ln>
                <a:noFill/>
              </a:ln>
              <a:solidFill>
                <a:srgbClr val="000000"/>
              </a:solidFill>
              <a:effectLst/>
              <a:uLnTx/>
              <a:uFillTx/>
              <a:latin typeface="Arial" panose="020B0503050203000203" pitchFamily="34" charset="0"/>
              <a:ea typeface="+mn-ea"/>
              <a:cs typeface="Arial" panose="020B0604020202020204" pitchFamily="34" charset="0"/>
            </a:endParaRPr>
          </a:p>
        </p:txBody>
      </p:sp>
    </p:spTree>
    <p:extLst>
      <p:ext uri="{BB962C8B-B14F-4D97-AF65-F5344CB8AC3E}">
        <p14:creationId xmlns:p14="http://schemas.microsoft.com/office/powerpoint/2010/main" val="10529725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47B9592F-0D35-B1D4-4CF9-D1154D00E730}"/>
              </a:ext>
            </a:extLst>
          </p:cNvPr>
          <p:cNvGrpSpPr/>
          <p:nvPr/>
        </p:nvGrpSpPr>
        <p:grpSpPr>
          <a:xfrm>
            <a:off x="3418537" y="430808"/>
            <a:ext cx="8450728" cy="5808470"/>
            <a:chOff x="2653553" y="323105"/>
            <a:chExt cx="6338046" cy="4356353"/>
          </a:xfrm>
        </p:grpSpPr>
        <p:sp>
          <p:nvSpPr>
            <p:cNvPr id="5" name="灯片编号占位符 9">
              <a:extLst>
                <a:ext uri="{FF2B5EF4-FFF2-40B4-BE49-F238E27FC236}">
                  <a16:creationId xmlns:a16="http://schemas.microsoft.com/office/drawing/2014/main" id="{EB197B6F-FE79-FD56-3099-57844DB20DFD}"/>
                </a:ext>
              </a:extLst>
            </p:cNvPr>
            <p:cNvSpPr txBox="1">
              <a:spLocks/>
            </p:cNvSpPr>
            <p:nvPr/>
          </p:nvSpPr>
          <p:spPr>
            <a:xfrm>
              <a:off x="4583225" y="1385416"/>
              <a:ext cx="46488" cy="92333"/>
            </a:xfrm>
            <a:prstGeom prst="rect">
              <a:avLst/>
            </a:prstGeom>
          </p:spPr>
          <p:txBody>
            <a:bodyPr/>
            <a:lstStyle>
              <a:defPPr>
                <a:defRPr lang="en-US"/>
              </a:defPPr>
              <a:lvl1pPr marL="0" algn="l" defTabSz="686017" rtl="0" eaLnBrk="1" latinLnBrk="0" hangingPunct="1">
                <a:defRPr sz="1350" kern="1200">
                  <a:solidFill>
                    <a:schemeClr val="tx1"/>
                  </a:solidFill>
                  <a:latin typeface="+mn-lt"/>
                  <a:ea typeface="+mn-ea"/>
                  <a:cs typeface="+mn-cs"/>
                </a:defRPr>
              </a:lvl1pPr>
              <a:lvl2pPr marL="343008" algn="l" defTabSz="686017" rtl="0" eaLnBrk="1" latinLnBrk="0" hangingPunct="1">
                <a:defRPr sz="1350" kern="1200">
                  <a:solidFill>
                    <a:schemeClr val="tx1"/>
                  </a:solidFill>
                  <a:latin typeface="+mn-lt"/>
                  <a:ea typeface="+mn-ea"/>
                  <a:cs typeface="+mn-cs"/>
                </a:defRPr>
              </a:lvl2pPr>
              <a:lvl3pPr marL="686017" algn="l" defTabSz="686017" rtl="0" eaLnBrk="1" latinLnBrk="0" hangingPunct="1">
                <a:defRPr sz="1350" kern="1200">
                  <a:solidFill>
                    <a:schemeClr val="tx1"/>
                  </a:solidFill>
                  <a:latin typeface="+mn-lt"/>
                  <a:ea typeface="+mn-ea"/>
                  <a:cs typeface="+mn-cs"/>
                </a:defRPr>
              </a:lvl3pPr>
              <a:lvl4pPr marL="1029026" algn="l" defTabSz="686017" rtl="0" eaLnBrk="1" latinLnBrk="0" hangingPunct="1">
                <a:defRPr sz="1350" kern="1200">
                  <a:solidFill>
                    <a:schemeClr val="tx1"/>
                  </a:solidFill>
                  <a:latin typeface="+mn-lt"/>
                  <a:ea typeface="+mn-ea"/>
                  <a:cs typeface="+mn-cs"/>
                </a:defRPr>
              </a:lvl4pPr>
              <a:lvl5pPr marL="1372035" algn="l" defTabSz="686017" rtl="0" eaLnBrk="1" latinLnBrk="0" hangingPunct="1">
                <a:defRPr sz="1350" kern="1200">
                  <a:solidFill>
                    <a:schemeClr val="tx1"/>
                  </a:solidFill>
                  <a:latin typeface="+mn-lt"/>
                  <a:ea typeface="+mn-ea"/>
                  <a:cs typeface="+mn-cs"/>
                </a:defRPr>
              </a:lvl5pPr>
              <a:lvl6pPr marL="1715043" algn="l" defTabSz="686017" rtl="0" eaLnBrk="1" latinLnBrk="0" hangingPunct="1">
                <a:defRPr sz="1350" kern="1200">
                  <a:solidFill>
                    <a:schemeClr val="tx1"/>
                  </a:solidFill>
                  <a:latin typeface="+mn-lt"/>
                  <a:ea typeface="+mn-ea"/>
                  <a:cs typeface="+mn-cs"/>
                </a:defRPr>
              </a:lvl6pPr>
              <a:lvl7pPr marL="2058052" algn="l" defTabSz="686017" rtl="0" eaLnBrk="1" latinLnBrk="0" hangingPunct="1">
                <a:defRPr sz="1350" kern="1200">
                  <a:solidFill>
                    <a:schemeClr val="tx1"/>
                  </a:solidFill>
                  <a:latin typeface="+mn-lt"/>
                  <a:ea typeface="+mn-ea"/>
                  <a:cs typeface="+mn-cs"/>
                </a:defRPr>
              </a:lvl7pPr>
              <a:lvl8pPr marL="2401060" algn="l" defTabSz="686017" rtl="0" eaLnBrk="1" latinLnBrk="0" hangingPunct="1">
                <a:defRPr sz="1350" kern="1200">
                  <a:solidFill>
                    <a:schemeClr val="tx1"/>
                  </a:solidFill>
                  <a:latin typeface="+mn-lt"/>
                  <a:ea typeface="+mn-ea"/>
                  <a:cs typeface="+mn-cs"/>
                </a:defRPr>
              </a:lvl8pPr>
              <a:lvl9pPr marL="2744069" algn="l" defTabSz="686017" rtl="0" eaLnBrk="1" latinLnBrk="0" hangingPunct="1">
                <a:defRPr sz="1350" kern="1200">
                  <a:solidFill>
                    <a:schemeClr val="tx1"/>
                  </a:solidFill>
                  <a:latin typeface="+mn-lt"/>
                  <a:ea typeface="+mn-ea"/>
                  <a:cs typeface="+mn-cs"/>
                </a:defRPr>
              </a:lvl9pPr>
            </a:lstStyle>
            <a:p>
              <a:pPr marL="0" marR="0" lvl="0" indent="0" algn="l" defTabSz="914666"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800" b="0" i="0" u="none" strike="noStrike" kern="1200" cap="none" spc="0" normalizeH="0" baseline="0" noProof="0">
                  <a:ln>
                    <a:noFill/>
                  </a:ln>
                  <a:solidFill>
                    <a:srgbClr val="000000"/>
                  </a:solidFill>
                  <a:effectLst/>
                  <a:uLnTx/>
                  <a:uFillTx/>
                  <a:latin typeface="IBM Plex Sans Light"/>
                  <a:ea typeface="+mn-ea"/>
                  <a:cs typeface="+mn-cs"/>
                </a:rPr>
                <a:pPr marL="0" marR="0" lvl="0" indent="0" algn="l" defTabSz="914666"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pic>
          <p:nvPicPr>
            <p:cNvPr id="6" name="Picture 5" descr="A diagram of a computer network&#10;&#10;Description automatically generated">
              <a:extLst>
                <a:ext uri="{FF2B5EF4-FFF2-40B4-BE49-F238E27FC236}">
                  <a16:creationId xmlns:a16="http://schemas.microsoft.com/office/drawing/2014/main" id="{2A59D6CA-5CAE-3968-26D1-C2CF836B59C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10162" y="323105"/>
              <a:ext cx="3687581" cy="4356353"/>
            </a:xfrm>
            <a:prstGeom prst="rect">
              <a:avLst/>
            </a:prstGeom>
          </p:spPr>
        </p:pic>
        <p:sp>
          <p:nvSpPr>
            <p:cNvPr id="7" name="Rounded Rectangle 6">
              <a:extLst>
                <a:ext uri="{FF2B5EF4-FFF2-40B4-BE49-F238E27FC236}">
                  <a16:creationId xmlns:a16="http://schemas.microsoft.com/office/drawing/2014/main" id="{027B4708-7F86-671F-42C6-095437BC1197}"/>
                </a:ext>
              </a:extLst>
            </p:cNvPr>
            <p:cNvSpPr/>
            <p:nvPr/>
          </p:nvSpPr>
          <p:spPr bwMode="auto">
            <a:xfrm>
              <a:off x="2653553" y="1386455"/>
              <a:ext cx="1374229" cy="276784"/>
            </a:xfrm>
            <a:prstGeom prst="roundRect">
              <a:avLst>
                <a:gd name="adj" fmla="val 50000"/>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Has a new UI for AI</a:t>
              </a:r>
            </a:p>
          </p:txBody>
        </p:sp>
        <p:sp>
          <p:nvSpPr>
            <p:cNvPr id="8" name="Rounded Rectangle 7">
              <a:extLst>
                <a:ext uri="{FF2B5EF4-FFF2-40B4-BE49-F238E27FC236}">
                  <a16:creationId xmlns:a16="http://schemas.microsoft.com/office/drawing/2014/main" id="{776CC4F5-9D17-6409-B394-48024626509D}"/>
                </a:ext>
              </a:extLst>
            </p:cNvPr>
            <p:cNvSpPr/>
            <p:nvPr/>
          </p:nvSpPr>
          <p:spPr bwMode="auto">
            <a:xfrm>
              <a:off x="2754568" y="3146615"/>
              <a:ext cx="1437066" cy="434704"/>
            </a:xfrm>
            <a:prstGeom prst="roundRect">
              <a:avLst>
                <a:gd name="adj" fmla="val 50000"/>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Is grounded on Data Products</a:t>
              </a:r>
            </a:p>
          </p:txBody>
        </p:sp>
        <p:sp>
          <p:nvSpPr>
            <p:cNvPr id="9" name="Rounded Rectangle 8">
              <a:extLst>
                <a:ext uri="{FF2B5EF4-FFF2-40B4-BE49-F238E27FC236}">
                  <a16:creationId xmlns:a16="http://schemas.microsoft.com/office/drawing/2014/main" id="{49B7B52D-3585-5DB7-89C4-AEC5656C3DC8}"/>
                </a:ext>
              </a:extLst>
            </p:cNvPr>
            <p:cNvSpPr/>
            <p:nvPr/>
          </p:nvSpPr>
          <p:spPr bwMode="auto">
            <a:xfrm>
              <a:off x="7523864" y="2240497"/>
              <a:ext cx="1467735" cy="441893"/>
            </a:xfrm>
            <a:prstGeom prst="roundRect">
              <a:avLst>
                <a:gd name="adj" fmla="val 50000"/>
              </a:avLst>
            </a:prstGeom>
            <a:solidFill>
              <a:srgbClr val="F6F2FF"/>
            </a:solidFill>
            <a:ln w="19050">
              <a:solidFill>
                <a:srgbClr val="A56E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Text" panose="020B0503050203000203" pitchFamily="34" charset="0"/>
                  <a:ea typeface="+mn-ea"/>
                  <a:cs typeface="+mn-cs"/>
                </a:rPr>
                <a:t>Is augmented by Agentic Workflows</a:t>
              </a:r>
            </a:p>
          </p:txBody>
        </p:sp>
        <p:cxnSp>
          <p:nvCxnSpPr>
            <p:cNvPr id="10" name="Straight Connector 9">
              <a:extLst>
                <a:ext uri="{FF2B5EF4-FFF2-40B4-BE49-F238E27FC236}">
                  <a16:creationId xmlns:a16="http://schemas.microsoft.com/office/drawing/2014/main" id="{A71E478B-A584-4FE8-F8A6-E747ECB1DFE9}"/>
                </a:ext>
              </a:extLst>
            </p:cNvPr>
            <p:cNvCxnSpPr>
              <a:cxnSpLocks/>
              <a:endCxn id="7" idx="3"/>
            </p:cNvCxnSpPr>
            <p:nvPr/>
          </p:nvCxnSpPr>
          <p:spPr bwMode="auto">
            <a:xfrm flipH="1">
              <a:off x="4027782" y="1524847"/>
              <a:ext cx="538740" cy="0"/>
            </a:xfrm>
            <a:prstGeom prst="line">
              <a:avLst/>
            </a:prstGeom>
            <a:ln w="12700">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E352B92-9F9A-F1B6-E26D-E02B39966DB5}"/>
                </a:ext>
              </a:extLst>
            </p:cNvPr>
            <p:cNvCxnSpPr>
              <a:cxnSpLocks/>
            </p:cNvCxnSpPr>
            <p:nvPr/>
          </p:nvCxnSpPr>
          <p:spPr bwMode="auto">
            <a:xfrm flipH="1">
              <a:off x="4191634" y="3367742"/>
              <a:ext cx="378832" cy="0"/>
            </a:xfrm>
            <a:prstGeom prst="line">
              <a:avLst/>
            </a:prstGeom>
            <a:ln w="12700">
              <a:solidFill>
                <a:schemeClr val="accent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291C6C0-277E-6FEF-BEB7-EF269E06D2D7}"/>
                </a:ext>
              </a:extLst>
            </p:cNvPr>
            <p:cNvCxnSpPr>
              <a:cxnSpLocks/>
              <a:stCxn id="9" idx="1"/>
            </p:cNvCxnSpPr>
            <p:nvPr/>
          </p:nvCxnSpPr>
          <p:spPr bwMode="auto">
            <a:xfrm flipH="1" flipV="1">
              <a:off x="7144107" y="2455530"/>
              <a:ext cx="379757" cy="5914"/>
            </a:xfrm>
            <a:prstGeom prst="line">
              <a:avLst/>
            </a:prstGeom>
            <a:ln w="12700">
              <a:solidFill>
                <a:schemeClr val="accent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80E66738-DC47-1464-0B06-6D187D289702}"/>
                </a:ext>
              </a:extLst>
            </p:cNvPr>
            <p:cNvSpPr txBox="1"/>
            <p:nvPr/>
          </p:nvSpPr>
          <p:spPr>
            <a:xfrm>
              <a:off x="2708655" y="1777213"/>
              <a:ext cx="1264024" cy="752947"/>
            </a:xfrm>
            <a:prstGeom prst="rect">
              <a:avLst/>
            </a:prstGeom>
            <a:noFill/>
          </p:spPr>
          <p:txBody>
            <a:bodyPr wrap="square" lIns="0" tIns="0" rIns="0" bIns="0">
              <a:spAutoFit/>
            </a:bodyPr>
            <a:lstStyle/>
            <a:p>
              <a:pPr marL="0" marR="0" lvl="0" indent="0" algn="l" defTabSz="548626" rtl="0" eaLnBrk="1" fontAlgn="auto" latinLnBrk="0" hangingPunct="1">
                <a:lnSpc>
                  <a:spcPct val="11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A new Persona based User Experience augmented by Assistants delivering end to end User Journeys … </a:t>
              </a:r>
            </a:p>
          </p:txBody>
        </p:sp>
        <p:sp>
          <p:nvSpPr>
            <p:cNvPr id="14" name="TextBox 13">
              <a:extLst>
                <a:ext uri="{FF2B5EF4-FFF2-40B4-BE49-F238E27FC236}">
                  <a16:creationId xmlns:a16="http://schemas.microsoft.com/office/drawing/2014/main" id="{25248205-C5EA-AFDA-132E-35C4549026EF}"/>
                </a:ext>
              </a:extLst>
            </p:cNvPr>
            <p:cNvSpPr txBox="1"/>
            <p:nvPr/>
          </p:nvSpPr>
          <p:spPr>
            <a:xfrm>
              <a:off x="7733603" y="2774280"/>
              <a:ext cx="1194923" cy="905297"/>
            </a:xfrm>
            <a:prstGeom prst="rect">
              <a:avLst/>
            </a:prstGeom>
            <a:noFill/>
          </p:spPr>
          <p:txBody>
            <a:bodyPr wrap="square" lIns="0" tIns="0" rIns="0" bIns="0">
              <a:spAutoFit/>
            </a:bodyPr>
            <a:lstStyle/>
            <a:p>
              <a:pPr marL="0" marR="0" lvl="0" indent="0" algn="l" defTabSz="548626" rtl="0" eaLnBrk="1" fontAlgn="auto" latinLnBrk="0" hangingPunct="1">
                <a:lnSpc>
                  <a:spcPct val="11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that are orchestrated and automated through a set of autonomous AI Agents that completely transform the existing workflows …</a:t>
              </a:r>
            </a:p>
          </p:txBody>
        </p:sp>
        <p:sp>
          <p:nvSpPr>
            <p:cNvPr id="15" name="TextBox 14">
              <a:extLst>
                <a:ext uri="{FF2B5EF4-FFF2-40B4-BE49-F238E27FC236}">
                  <a16:creationId xmlns:a16="http://schemas.microsoft.com/office/drawing/2014/main" id="{A13B711D-1406-942C-9800-46F0CD330B01}"/>
                </a:ext>
              </a:extLst>
            </p:cNvPr>
            <p:cNvSpPr txBox="1"/>
            <p:nvPr/>
          </p:nvSpPr>
          <p:spPr>
            <a:xfrm>
              <a:off x="2836494" y="3692026"/>
              <a:ext cx="1273214" cy="600598"/>
            </a:xfrm>
            <a:prstGeom prst="rect">
              <a:avLst/>
            </a:prstGeom>
            <a:noFill/>
          </p:spPr>
          <p:txBody>
            <a:bodyPr wrap="square" lIns="0" tIns="0" rIns="0" bIns="0">
              <a:spAutoFit/>
            </a:bodyPr>
            <a:lstStyle/>
            <a:p>
              <a:pPr marL="0" marR="0" lvl="0" indent="0" algn="l" defTabSz="548626" rtl="0" eaLnBrk="1" fontAlgn="auto" latinLnBrk="0" hangingPunct="1">
                <a:lnSpc>
                  <a:spcPct val="11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rPr>
                <a:t>... enabled by specific Data Products delivering high quality operational and analytical insights </a:t>
              </a:r>
            </a:p>
          </p:txBody>
        </p:sp>
      </p:grpSp>
      <p:sp>
        <p:nvSpPr>
          <p:cNvPr id="16" name="Textfeld 15">
            <a:extLst>
              <a:ext uri="{FF2B5EF4-FFF2-40B4-BE49-F238E27FC236}">
                <a16:creationId xmlns:a16="http://schemas.microsoft.com/office/drawing/2014/main" id="{821ECBF4-53AE-0800-821E-9AF1D43C1ABC}"/>
              </a:ext>
            </a:extLst>
          </p:cNvPr>
          <p:cNvSpPr txBox="1"/>
          <p:nvPr/>
        </p:nvSpPr>
        <p:spPr>
          <a:xfrm>
            <a:off x="284880" y="232607"/>
            <a:ext cx="2660027" cy="156966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457183"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mn-cs"/>
              </a:rPr>
              <a:t>Agentic apps require readiness across the entire tech stack</a:t>
            </a:r>
            <a:endParaRPr kumimoji="0" lang="en-US" sz="2400" b="0" i="0" u="none" strike="noStrike" kern="0" cap="none" spc="0" normalizeH="0" baseline="30000" noProof="0" dirty="0">
              <a:ln>
                <a:noFill/>
              </a:ln>
              <a:solidFill>
                <a:srgbClr val="000000"/>
              </a:solidFill>
              <a:effectLst/>
              <a:uLnTx/>
              <a:uFillTx/>
              <a:latin typeface="IBM Plex Sans Light" panose="020B0403050203000203" pitchFamily="34" charset="0"/>
              <a:ea typeface="+mn-ea"/>
              <a:cs typeface="+mn-cs"/>
            </a:endParaRPr>
          </a:p>
        </p:txBody>
      </p:sp>
      <p:sp>
        <p:nvSpPr>
          <p:cNvPr id="2" name="Footer Placeholder 1">
            <a:extLst>
              <a:ext uri="{FF2B5EF4-FFF2-40B4-BE49-F238E27FC236}">
                <a16:creationId xmlns:a16="http://schemas.microsoft.com/office/drawing/2014/main" id="{96D05429-3092-9EFA-9D80-87F9ADA73A49}"/>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503050203000203" pitchFamily="34" charset="0"/>
                <a:ea typeface="+mn-ea"/>
                <a:cs typeface="Arial" panose="020B0604020202020204" pitchFamily="34" charset="0"/>
              </a:rPr>
              <a:t>© 2025 cloudflight / IBM Corporation </a:t>
            </a:r>
          </a:p>
        </p:txBody>
      </p:sp>
    </p:spTree>
    <p:extLst>
      <p:ext uri="{BB962C8B-B14F-4D97-AF65-F5344CB8AC3E}">
        <p14:creationId xmlns:p14="http://schemas.microsoft.com/office/powerpoint/2010/main" val="139034835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186649-DD48-322C-F5D8-D5A3D81C500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95051EF-574D-C323-0BDA-5A246E7BAC4B}"/>
              </a:ext>
            </a:extLst>
          </p:cNvPr>
          <p:cNvSpPr>
            <a:spLocks noGrp="1" noRot="1" noMove="1" noResize="1" noEditPoints="1" noAdjustHandles="1" noChangeArrowheads="1" noChangeShapeType="1"/>
          </p:cNvSpPr>
          <p:nvPr/>
        </p:nvSpPr>
        <p:spPr bwMode="auto">
          <a:xfrm>
            <a:off x="4333332" y="1341624"/>
            <a:ext cx="7857874" cy="5515931"/>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121904" rIns="121904" bIns="121904" numCol="1" rtlCol="0" anchor="t" anchorCtr="0" compatLnSpc="1">
            <a:prstTxWarp prst="textNoShape">
              <a:avLst/>
            </a:prstTxWarp>
          </a:bodyPr>
          <a:lstStyle/>
          <a:p>
            <a:pPr marL="0" marR="0" lvl="0" indent="0" algn="l" defTabSz="1218971" rtl="0" eaLnBrk="1" fontAlgn="base" latinLnBrk="0" hangingPunct="1">
              <a:lnSpc>
                <a:spcPct val="100000"/>
              </a:lnSpc>
              <a:spcBef>
                <a:spcPct val="0"/>
              </a:spcBef>
              <a:spcAft>
                <a:spcPct val="0"/>
              </a:spcAft>
              <a:buClrTx/>
              <a:buSzTx/>
              <a:buFontTx/>
              <a:buNone/>
              <a:tabLst/>
              <a:defRPr/>
            </a:pPr>
            <a:endParaRPr kumimoji="0" lang="de-DE" sz="12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223ABDF4-DABF-F121-539F-31FF5AC0083C}"/>
              </a:ext>
            </a:extLst>
          </p:cNvPr>
          <p:cNvSpPr/>
          <p:nvPr/>
        </p:nvSpPr>
        <p:spPr bwMode="auto">
          <a:xfrm>
            <a:off x="4450017" y="5205253"/>
            <a:ext cx="7618051" cy="1121326"/>
          </a:xfrm>
          <a:prstGeom prst="rect">
            <a:avLst/>
          </a:prstGeom>
          <a:solidFill>
            <a:schemeClr val="tx1">
              <a:lumMod val="75000"/>
              <a:lumOff val="2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231C1DAA-47A6-D3F2-2B22-54D712D70B98}"/>
              </a:ext>
            </a:extLst>
          </p:cNvPr>
          <p:cNvSpPr/>
          <p:nvPr/>
        </p:nvSpPr>
        <p:spPr bwMode="auto">
          <a:xfrm>
            <a:off x="6199833" y="4083551"/>
            <a:ext cx="5868237" cy="875368"/>
          </a:xfrm>
          <a:prstGeom prst="rect">
            <a:avLst/>
          </a:prstGeom>
          <a:solidFill>
            <a:srgbClr val="C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192DA979-927B-1B06-4D5A-98C3BA5FE068}"/>
              </a:ext>
            </a:extLst>
          </p:cNvPr>
          <p:cNvSpPr/>
          <p:nvPr/>
        </p:nvSpPr>
        <p:spPr bwMode="auto">
          <a:xfrm>
            <a:off x="4450018" y="1570181"/>
            <a:ext cx="7618052" cy="2289525"/>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Content Placeholder 2">
            <a:extLst>
              <a:ext uri="{FF2B5EF4-FFF2-40B4-BE49-F238E27FC236}">
                <a16:creationId xmlns:a16="http://schemas.microsoft.com/office/drawing/2014/main" id="{44585B8A-81D0-398F-3AB8-D9B03014FCFE}"/>
              </a:ext>
            </a:extLst>
          </p:cNvPr>
          <p:cNvSpPr txBox="1">
            <a:spLocks/>
          </p:cNvSpPr>
          <p:nvPr/>
        </p:nvSpPr>
        <p:spPr>
          <a:xfrm>
            <a:off x="237526" y="1570181"/>
            <a:ext cx="3752792" cy="48757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normAutofit/>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Open</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Eine offene Plattform, die auf Open Source-Innovationskraft setzt und bereits getätigte Investitionen schützt</a:t>
            </a:r>
          </a:p>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Own (</a:t>
            </a:r>
            <a:r>
              <a:rPr kumimoji="0" lang="de-DE" sz="1500" b="1"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Targeted</a:t>
            </a: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Wählen Sie aus unterschiedlichen Modellen und bleiben Sie flexibel    wenn sich Anforderungen ändern            </a:t>
            </a:r>
            <a:r>
              <a:rPr kumimoji="0" lang="de-DE" sz="14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Eigene, Partner, IBM, Open Source)</a:t>
            </a:r>
          </a:p>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On </a:t>
            </a:r>
            <a:r>
              <a:rPr kumimoji="0" lang="de-DE" sz="1500" b="1"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premise</a:t>
            </a: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Trusted)                           </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Setzen Sie souveräne KI um, wo und wie immer sie wollen                                               </a:t>
            </a:r>
            <a:r>
              <a:rPr kumimoji="0" lang="de-DE" sz="14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lokales RZ, in-a-box, jede Cloud) </a:t>
            </a:r>
            <a:endPar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de-DE" sz="1500" b="1"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Empowering</a:t>
            </a:r>
            <a:r>
              <a:rPr kumimoji="0" lang="de-DE" sz="1500" b="1"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Skalieren Sie mit einer Ende-zu-Ende KI-Plattform inklusive Daten- und KI- Governance und bleiben Sie Wechselfähig mit </a:t>
            </a:r>
            <a:r>
              <a:rPr kumimoji="0" lang="de-DE" sz="1500" b="0"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RedHat</a:t>
            </a:r>
            <a:r>
              <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a:t>
            </a:r>
            <a:r>
              <a:rPr kumimoji="0" lang="de-DE" sz="1500" b="0" i="0" u="none" strike="noStrike" kern="1200" cap="none" spc="0" normalizeH="0" baseline="0" noProof="0" dirty="0" err="1">
                <a:ln>
                  <a:noFill/>
                </a:ln>
                <a:solidFill>
                  <a:srgbClr val="000000"/>
                </a:solidFill>
                <a:effectLst/>
                <a:uLnTx/>
                <a:uFillTx/>
                <a:latin typeface="IBM Plex Sans" panose="020B0503050203000203" pitchFamily="34" charset="0"/>
                <a:ea typeface="+mj-ea"/>
                <a:cs typeface="+mj-cs"/>
                <a:sym typeface="IBM Plex Sans Light"/>
              </a:rPr>
              <a:t>OpenShift</a:t>
            </a:r>
            <a:endPar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285750" marR="0" lvl="0" indent="-285750" algn="l" defTabSz="1829379" rtl="0" eaLnBrk="1" fontAlgn="auto" latinLnBrk="0" hangingPunct="1">
              <a:lnSpc>
                <a:spcPct val="100000"/>
              </a:lnSpc>
              <a:spcBef>
                <a:spcPts val="0"/>
              </a:spcBef>
              <a:spcAft>
                <a:spcPts val="1200"/>
              </a:spcAft>
              <a:buClrTx/>
              <a:buSzTx/>
              <a:buFont typeface="Wingdings" panose="05000000000000000000" pitchFamily="2" charset="2"/>
              <a:buChar char="ü"/>
              <a:tabLst/>
              <a:defRPr/>
            </a:pPr>
            <a:endParaRPr kumimoji="0" lang="de-DE" sz="15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p:txBody>
      </p:sp>
      <p:sp>
        <p:nvSpPr>
          <p:cNvPr id="28" name="Title 1">
            <a:extLst>
              <a:ext uri="{FF2B5EF4-FFF2-40B4-BE49-F238E27FC236}">
                <a16:creationId xmlns:a16="http://schemas.microsoft.com/office/drawing/2014/main" id="{1E025C5E-88EF-5C40-E72F-BD7013D97BF3}"/>
              </a:ext>
            </a:extLst>
          </p:cNvPr>
          <p:cNvSpPr txBox="1">
            <a:spLocks/>
          </p:cNvSpPr>
          <p:nvPr/>
        </p:nvSpPr>
        <p:spPr>
          <a:xfrm>
            <a:off x="280416" y="300309"/>
            <a:ext cx="11674058" cy="10728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90000"/>
              </a:lnSpc>
              <a:spcBef>
                <a:spcPts val="0"/>
              </a:spcBef>
              <a:spcAft>
                <a:spcPts val="0"/>
              </a:spcAft>
              <a:buClrTx/>
              <a:buSzTx/>
              <a:buFontTx/>
              <a:buNone/>
              <a:tabLst/>
              <a:defRPr/>
            </a:pPr>
            <a:r>
              <a:rPr kumimoji="0" lang="de-DE" sz="3720" b="0" i="0" u="none" strike="noStrike" kern="0" cap="none" spc="0" normalizeH="0" baseline="0" noProof="0" dirty="0">
                <a:ln>
                  <a:noFill/>
                </a:ln>
                <a:solidFill>
                  <a:srgbClr val="000000"/>
                </a:solidFill>
                <a:effectLst/>
                <a:uLnTx/>
                <a:uFillTx/>
                <a:latin typeface="IBM Plex Sans Light"/>
                <a:ea typeface="+mj-ea"/>
                <a:cs typeface="+mj-cs"/>
                <a:sym typeface="IBM Plex Sans Light"/>
              </a:rPr>
              <a:t>Ihre Anforderungen im Fokus</a:t>
            </a:r>
            <a:br>
              <a:rPr kumimoji="0" lang="de-DE" sz="3200" b="0" i="0" u="none" strike="noStrike" kern="0" cap="none" spc="0" normalizeH="0" baseline="0" noProof="0" dirty="0">
                <a:ln>
                  <a:noFill/>
                </a:ln>
                <a:solidFill>
                  <a:srgbClr val="000000"/>
                </a:solidFill>
                <a:effectLst/>
                <a:uLnTx/>
                <a:uFillTx/>
                <a:latin typeface="IBM Plex Sans Light"/>
                <a:ea typeface="+mj-ea"/>
                <a:cs typeface="+mj-cs"/>
                <a:sym typeface="IBM Plex Sans Light"/>
              </a:rPr>
            </a:br>
            <a:r>
              <a:rPr kumimoji="0" lang="de-DE" sz="2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Nutzen Sie eine Plattform, die sich an Ihre Ziele anpasst</a:t>
            </a:r>
            <a:endParaRPr kumimoji="0" lang="de-DE" sz="3199"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2" name="Rectangle: Rounded Corners 1">
            <a:extLst>
              <a:ext uri="{FF2B5EF4-FFF2-40B4-BE49-F238E27FC236}">
                <a16:creationId xmlns:a16="http://schemas.microsoft.com/office/drawing/2014/main" id="{EC89812C-5B93-3042-3F7A-515D2B7FC388}"/>
              </a:ext>
            </a:extLst>
          </p:cNvPr>
          <p:cNvSpPr/>
          <p:nvPr/>
        </p:nvSpPr>
        <p:spPr bwMode="auto">
          <a:xfrm>
            <a:off x="4405327" y="2499599"/>
            <a:ext cx="1770610" cy="1400920"/>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mn-cs"/>
              </a:rPr>
              <a:t>Data </a:t>
            </a:r>
            <a:r>
              <a:rPr kumimoji="0" lang="de-DE" sz="1000" b="0" i="0" u="none" strike="noStrike" kern="1200" cap="none" spc="0" normalizeH="0" baseline="0" noProof="0" dirty="0" err="1">
                <a:ln>
                  <a:noFill/>
                </a:ln>
                <a:solidFill>
                  <a:srgbClr val="FFFFFF"/>
                </a:solidFill>
                <a:effectLst/>
                <a:uLnTx/>
                <a:uFillTx/>
                <a:latin typeface="IBM Plex Sans Light" panose="020B0403050203000203" pitchFamily="34" charset="0"/>
                <a:ea typeface="+mn-ea"/>
                <a:cs typeface="+mn-cs"/>
              </a:rPr>
              <a:t>store</a:t>
            </a: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mn-cs"/>
              </a:rPr>
              <a:t> nach Maß - basierend auf einer offenen Lakehouse-Architektur mit Abfragefunktionen, Governance und offenen Formaten für Datenzugriff und -austausch</a:t>
            </a:r>
            <a:endPar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endParaRPr>
          </a:p>
        </p:txBody>
      </p:sp>
      <p:sp>
        <p:nvSpPr>
          <p:cNvPr id="6" name="Rectangle: Rounded Corners 5">
            <a:extLst>
              <a:ext uri="{FF2B5EF4-FFF2-40B4-BE49-F238E27FC236}">
                <a16:creationId xmlns:a16="http://schemas.microsoft.com/office/drawing/2014/main" id="{584CF3D7-7345-1AC2-142C-DD59AD16C881}"/>
              </a:ext>
            </a:extLst>
          </p:cNvPr>
          <p:cNvSpPr/>
          <p:nvPr/>
        </p:nvSpPr>
        <p:spPr bwMode="auto">
          <a:xfrm>
            <a:off x="7248538" y="1542643"/>
            <a:ext cx="2021006" cy="911531"/>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Einfaches trainieren, validieren und optimieren von KI-Modellen &amp; maßgeschneiderten AI Agents</a:t>
            </a:r>
          </a:p>
        </p:txBody>
      </p:sp>
      <p:sp>
        <p:nvSpPr>
          <p:cNvPr id="10" name="Rectangle: Rounded Corners 9">
            <a:extLst>
              <a:ext uri="{FF2B5EF4-FFF2-40B4-BE49-F238E27FC236}">
                <a16:creationId xmlns:a16="http://schemas.microsoft.com/office/drawing/2014/main" id="{2F1326C2-EBF7-1BEA-2C14-02D3ED67D0F7}"/>
              </a:ext>
            </a:extLst>
          </p:cNvPr>
          <p:cNvSpPr/>
          <p:nvPr/>
        </p:nvSpPr>
        <p:spPr bwMode="auto">
          <a:xfrm>
            <a:off x="10465175" y="2593675"/>
            <a:ext cx="1655991" cy="1200329"/>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Gewährleisten Sie verantwortungsvolle und transparente Daten- und KI-Workflows &amp; behalten Sie Modelle, Qualität und Warnhinweise im Blick</a:t>
            </a:r>
          </a:p>
        </p:txBody>
      </p:sp>
      <p:sp>
        <p:nvSpPr>
          <p:cNvPr id="13" name="Rectangle: Rounded Corners 12">
            <a:extLst>
              <a:ext uri="{FF2B5EF4-FFF2-40B4-BE49-F238E27FC236}">
                <a16:creationId xmlns:a16="http://schemas.microsoft.com/office/drawing/2014/main" id="{C15E15B9-F277-EDAD-AC40-8C839C5E10AE}"/>
              </a:ext>
            </a:extLst>
          </p:cNvPr>
          <p:cNvSpPr/>
          <p:nvPr/>
        </p:nvSpPr>
        <p:spPr bwMode="auto">
          <a:xfrm>
            <a:off x="4405327" y="5198122"/>
            <a:ext cx="1770610" cy="1126114"/>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Volle Souveränität durch Installation der gesamten Plattform auf einem Server – offene, vorintegrierte KI-Plattform „in-a-box“.</a:t>
            </a:r>
          </a:p>
        </p:txBody>
      </p:sp>
      <p:sp>
        <p:nvSpPr>
          <p:cNvPr id="17" name="Rectangle: Rounded Corners 16">
            <a:extLst>
              <a:ext uri="{FF2B5EF4-FFF2-40B4-BE49-F238E27FC236}">
                <a16:creationId xmlns:a16="http://schemas.microsoft.com/office/drawing/2014/main" id="{65CC0BDD-9BF3-238C-C928-CF5D1BABEF9C}"/>
              </a:ext>
            </a:extLst>
          </p:cNvPr>
          <p:cNvSpPr/>
          <p:nvPr/>
        </p:nvSpPr>
        <p:spPr bwMode="auto">
          <a:xfrm>
            <a:off x="7476721" y="5797979"/>
            <a:ext cx="1564641" cy="459226"/>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Implementieren Sie nach Ihren Vorstellungen...</a:t>
            </a:r>
          </a:p>
        </p:txBody>
      </p:sp>
      <p:sp>
        <p:nvSpPr>
          <p:cNvPr id="18" name="Rectangle: Rounded Corners 17">
            <a:extLst>
              <a:ext uri="{FF2B5EF4-FFF2-40B4-BE49-F238E27FC236}">
                <a16:creationId xmlns:a16="http://schemas.microsoft.com/office/drawing/2014/main" id="{49396019-AE3B-5B79-06F9-8E3E72DF3D8E}"/>
              </a:ext>
            </a:extLst>
          </p:cNvPr>
          <p:cNvSpPr/>
          <p:nvPr/>
        </p:nvSpPr>
        <p:spPr bwMode="auto">
          <a:xfrm>
            <a:off x="10511491" y="5209523"/>
            <a:ext cx="1554612" cy="1096643"/>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und sichern Sie sich das Beste aus beiden Welten – die Sicherheit von on‑prem und die Flexibilität der (privaten) Cloud</a:t>
            </a:r>
          </a:p>
        </p:txBody>
      </p:sp>
      <p:sp>
        <p:nvSpPr>
          <p:cNvPr id="12" name="Rectangle: Rounded Corners 11">
            <a:extLst>
              <a:ext uri="{FF2B5EF4-FFF2-40B4-BE49-F238E27FC236}">
                <a16:creationId xmlns:a16="http://schemas.microsoft.com/office/drawing/2014/main" id="{B6286B50-7855-48CF-3787-A7BEAD7BF818}"/>
              </a:ext>
            </a:extLst>
          </p:cNvPr>
          <p:cNvSpPr/>
          <p:nvPr/>
        </p:nvSpPr>
        <p:spPr bwMode="auto">
          <a:xfrm>
            <a:off x="10430189" y="4133792"/>
            <a:ext cx="1657978" cy="786184"/>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Arial" panose="020B0604020202020204" pitchFamily="34" charset="0"/>
              </a:rPr>
              <a:t>Konsistentes Hybrid-Cloud-Fundament zum Erstellen und Skalieren containerisierter Apps.</a:t>
            </a:r>
          </a:p>
        </p:txBody>
      </p:sp>
      <p:pic>
        <p:nvPicPr>
          <p:cNvPr id="9" name="Picture 8">
            <a:extLst>
              <a:ext uri="{FF2B5EF4-FFF2-40B4-BE49-F238E27FC236}">
                <a16:creationId xmlns:a16="http://schemas.microsoft.com/office/drawing/2014/main" id="{54B25BCE-FC31-282D-1D21-29C8F5BCFE72}"/>
              </a:ext>
            </a:extLst>
          </p:cNvPr>
          <p:cNvPicPr>
            <a:picLocks noChangeAspect="1"/>
          </p:cNvPicPr>
          <p:nvPr/>
        </p:nvPicPr>
        <p:blipFill rotWithShape="1">
          <a:blip r:embed="rId3">
            <a:clrChange>
              <a:clrFrom>
                <a:srgbClr val="FFFFFF"/>
              </a:clrFrom>
              <a:clrTo>
                <a:srgbClr val="FFFFFF">
                  <a:alpha val="0"/>
                </a:srgbClr>
              </a:clrTo>
            </a:clrChange>
          </a:blip>
          <a:srcRect/>
          <a:stretch>
            <a:fillRect/>
          </a:stretch>
        </p:blipFill>
        <p:spPr>
          <a:xfrm>
            <a:off x="6185418" y="2523548"/>
            <a:ext cx="4324108" cy="3335477"/>
          </a:xfrm>
          <a:prstGeom prst="rect">
            <a:avLst/>
          </a:prstGeom>
        </p:spPr>
      </p:pic>
      <p:sp>
        <p:nvSpPr>
          <p:cNvPr id="22" name="Slide Number Placeholder 14">
            <a:extLst>
              <a:ext uri="{FF2B5EF4-FFF2-40B4-BE49-F238E27FC236}">
                <a16:creationId xmlns:a16="http://schemas.microsoft.com/office/drawing/2014/main" id="{EB6F6154-AC02-F632-E45A-3226B6CA4378}"/>
              </a:ext>
            </a:extLst>
          </p:cNvPr>
          <p:cNvSpPr txBox="1">
            <a:spLocks/>
          </p:cNvSpPr>
          <p:nvPr/>
        </p:nvSpPr>
        <p:spPr>
          <a:xfrm>
            <a:off x="11769264" y="6475769"/>
            <a:ext cx="135436"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24" name="TextBox 23">
            <a:extLst>
              <a:ext uri="{FF2B5EF4-FFF2-40B4-BE49-F238E27FC236}">
                <a16:creationId xmlns:a16="http://schemas.microsoft.com/office/drawing/2014/main" id="{EE81DC5D-ED69-1D10-62A5-F0F775CBCF96}"/>
              </a:ext>
            </a:extLst>
          </p:cNvPr>
          <p:cNvSpPr txBox="1"/>
          <p:nvPr/>
        </p:nvSpPr>
        <p:spPr>
          <a:xfrm>
            <a:off x="6258649" y="2291409"/>
            <a:ext cx="2021004" cy="246221"/>
          </a:xfrm>
          <a:prstGeom prst="rect">
            <a:avLst/>
          </a:prstGeom>
          <a:solidFill>
            <a:schemeClr val="accent2">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w</a:t>
            </a:r>
            <a:r>
              <a:rPr kumimoji="0" lang="de-DE" sz="1000" b="1"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atson</a:t>
            </a:r>
            <a:r>
              <a:rPr kumimoji="0" lang="de-DE" sz="1000" b="1" i="0" u="none" strike="noStrike" kern="0" cap="none" spc="0" normalizeH="0" baseline="0" noProof="0" dirty="0" err="1">
                <a:ln>
                  <a:noFill/>
                </a:ln>
                <a:solidFill>
                  <a:srgbClr val="0F62FE"/>
                </a:solidFill>
                <a:effectLst/>
                <a:uLnTx/>
                <a:uFillTx/>
                <a:latin typeface="IBM Plex Sans Light"/>
                <a:ea typeface="+mn-ea"/>
                <a:cs typeface="+mn-cs"/>
                <a:sym typeface="IBM Plex Sans Light"/>
              </a:rPr>
              <a:t>x</a:t>
            </a:r>
            <a:r>
              <a:rPr kumimoji="0" lang="de-DE" sz="10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 </a:t>
            </a:r>
            <a:r>
              <a:rPr kumimoji="0" lang="de-DE" sz="1000" b="1"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Orchestrate</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B2143D08-1F02-8177-7E92-676851F5B217}"/>
              </a:ext>
            </a:extLst>
          </p:cNvPr>
          <p:cNvSpPr txBox="1"/>
          <p:nvPr/>
        </p:nvSpPr>
        <p:spPr>
          <a:xfrm>
            <a:off x="8403297" y="2291408"/>
            <a:ext cx="1982584" cy="246221"/>
          </a:xfrm>
          <a:prstGeom prst="rect">
            <a:avLst/>
          </a:prstGeom>
          <a:solidFill>
            <a:schemeClr val="accent2">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w</a:t>
            </a:r>
            <a:r>
              <a:rPr kumimoji="0" lang="de-DE" sz="1000" b="1" i="0" u="none" strike="noStrike" kern="0" cap="none" spc="0" normalizeH="0" baseline="0" noProof="0" dirty="0" err="1">
                <a:ln>
                  <a:noFill/>
                </a:ln>
                <a:solidFill>
                  <a:srgbClr val="000000"/>
                </a:solidFill>
                <a:effectLst/>
                <a:uLnTx/>
                <a:uFillTx/>
                <a:latin typeface="IBM Plex Sans Light"/>
                <a:ea typeface="+mn-ea"/>
                <a:cs typeface="+mn-cs"/>
                <a:sym typeface="IBM Plex Sans Light"/>
              </a:rPr>
              <a:t>atson</a:t>
            </a:r>
            <a:r>
              <a:rPr kumimoji="0" lang="de-DE" sz="1000" b="1" i="0" u="none" strike="noStrike" kern="0" cap="none" spc="0" normalizeH="0" baseline="0" noProof="0" dirty="0" err="1">
                <a:ln>
                  <a:noFill/>
                </a:ln>
                <a:solidFill>
                  <a:srgbClr val="0F62FE"/>
                </a:solidFill>
                <a:effectLst/>
                <a:uLnTx/>
                <a:uFillTx/>
                <a:latin typeface="IBM Plex Sans Light"/>
                <a:ea typeface="+mn-ea"/>
                <a:cs typeface="+mn-cs"/>
                <a:sym typeface="IBM Plex Sans Light"/>
              </a:rPr>
              <a:t>x</a:t>
            </a:r>
            <a:r>
              <a:rPr kumimoji="0" lang="de-DE" sz="1000" b="1" i="0" u="none" strike="noStrike" kern="0" cap="none" spc="0" normalizeH="0" baseline="0" noProof="0" dirty="0">
                <a:ln>
                  <a:noFill/>
                </a:ln>
                <a:solidFill>
                  <a:srgbClr val="0F62FE"/>
                </a:solidFill>
                <a:effectLst/>
                <a:uLnTx/>
                <a:uFillTx/>
                <a:latin typeface="IBM Plex Sans Light"/>
                <a:ea typeface="+mn-ea"/>
                <a:cs typeface="+mn-cs"/>
                <a:sym typeface="IBM Plex Sans Light"/>
              </a:rPr>
              <a:t> </a:t>
            </a:r>
            <a:r>
              <a:rPr kumimoji="0" lang="de-DE" sz="1000" b="1" i="0" u="none" strike="noStrike" kern="0" cap="none" spc="0" normalizeH="0" baseline="0" noProof="0" dirty="0">
                <a:ln>
                  <a:noFill/>
                </a:ln>
                <a:solidFill>
                  <a:srgbClr val="000000"/>
                </a:solidFill>
                <a:effectLst/>
                <a:uLnTx/>
                <a:uFillTx/>
                <a:latin typeface="IBM Plex Sans Light"/>
                <a:ea typeface="+mn-ea"/>
                <a:cs typeface="+mn-cs"/>
                <a:sym typeface="IBM Plex Sans Light"/>
              </a:rPr>
              <a:t>Discovery</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73311AB7-E2E6-A869-25F0-0FDB32AC5996}"/>
              </a:ext>
            </a:extLst>
          </p:cNvPr>
          <p:cNvSpPr txBox="1"/>
          <p:nvPr/>
        </p:nvSpPr>
        <p:spPr>
          <a:xfrm>
            <a:off x="4592446" y="1751736"/>
            <a:ext cx="119848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0" cap="none" spc="0" normalizeH="0" baseline="0" noProof="0" dirty="0">
                <a:ln>
                  <a:noFill/>
                </a:ln>
                <a:solidFill>
                  <a:srgbClr val="FFFFFF"/>
                </a:solidFill>
                <a:effectLst/>
                <a:uLnTx/>
                <a:uFillTx/>
                <a:latin typeface="IBM Plex Sans Light"/>
                <a:ea typeface="+mn-ea"/>
                <a:cs typeface="+mn-cs"/>
                <a:sym typeface="IBM Plex Sans Light"/>
              </a:rPr>
              <a:t>w</a:t>
            </a:r>
            <a:r>
              <a:rPr kumimoji="0" lang="de-DE" sz="1800" b="1" i="0" u="none" strike="noStrike" kern="0" cap="none" spc="0" normalizeH="0" baseline="0" noProof="0" dirty="0" err="1">
                <a:ln>
                  <a:noFill/>
                </a:ln>
                <a:solidFill>
                  <a:srgbClr val="FFFFFF"/>
                </a:solidFill>
                <a:effectLst/>
                <a:uLnTx/>
                <a:uFillTx/>
                <a:latin typeface="IBM Plex Sans Light"/>
                <a:ea typeface="+mn-ea"/>
                <a:cs typeface="+mn-cs"/>
                <a:sym typeface="IBM Plex Sans Light"/>
              </a:rPr>
              <a:t>atson</a:t>
            </a:r>
            <a:r>
              <a:rPr kumimoji="0" lang="de-DE" sz="1800" b="1" i="0" u="none" strike="noStrike" kern="0" cap="none" spc="0" normalizeH="0" baseline="0" noProof="0" dirty="0" err="1">
                <a:ln>
                  <a:noFill/>
                </a:ln>
                <a:solidFill>
                  <a:srgbClr val="0F62FE"/>
                </a:solidFill>
                <a:effectLst/>
                <a:uLnTx/>
                <a:uFillTx/>
                <a:latin typeface="IBM Plex Sans Light"/>
                <a:ea typeface="+mn-ea"/>
                <a:cs typeface="+mn-cs"/>
                <a:sym typeface="IBM Plex Sans Light"/>
              </a:rPr>
              <a:t>x</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Rounded Rectangle 7">
            <a:extLst>
              <a:ext uri="{FF2B5EF4-FFF2-40B4-BE49-F238E27FC236}">
                <a16:creationId xmlns:a16="http://schemas.microsoft.com/office/drawing/2014/main" id="{928934D1-1B7B-3A40-DE67-631D83887E6C}"/>
              </a:ext>
            </a:extLst>
          </p:cNvPr>
          <p:cNvSpPr/>
          <p:nvPr/>
        </p:nvSpPr>
        <p:spPr bwMode="auto">
          <a:xfrm>
            <a:off x="7655442" y="2623612"/>
            <a:ext cx="1385920" cy="635244"/>
          </a:xfrm>
          <a:prstGeom prst="roundRect">
            <a:avLst/>
          </a:prstGeom>
          <a:noFill/>
          <a:ln w="63500">
            <a:solidFill>
              <a:srgbClr val="740937"/>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Rounded Rectangle 13">
            <a:extLst>
              <a:ext uri="{FF2B5EF4-FFF2-40B4-BE49-F238E27FC236}">
                <a16:creationId xmlns:a16="http://schemas.microsoft.com/office/drawing/2014/main" id="{E04D071B-4703-2A0D-5C6F-45FA0A9B13E8}"/>
              </a:ext>
            </a:extLst>
          </p:cNvPr>
          <p:cNvSpPr/>
          <p:nvPr/>
        </p:nvSpPr>
        <p:spPr bwMode="auto">
          <a:xfrm>
            <a:off x="6247931" y="2291408"/>
            <a:ext cx="2021005" cy="262830"/>
          </a:xfrm>
          <a:prstGeom prst="roundRect">
            <a:avLst/>
          </a:prstGeom>
          <a:noFill/>
          <a:ln w="63500">
            <a:solidFill>
              <a:srgbClr val="740937"/>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Footer Placeholder 14">
            <a:extLst>
              <a:ext uri="{FF2B5EF4-FFF2-40B4-BE49-F238E27FC236}">
                <a16:creationId xmlns:a16="http://schemas.microsoft.com/office/drawing/2014/main" id="{C25963E6-A0E0-6A06-B47E-A2CD9DD7F31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sp>
        <p:nvSpPr>
          <p:cNvPr id="19" name="Footer Placeholder 8">
            <a:extLst>
              <a:ext uri="{FF2B5EF4-FFF2-40B4-BE49-F238E27FC236}">
                <a16:creationId xmlns:a16="http://schemas.microsoft.com/office/drawing/2014/main" id="{4E2E6A95-06E5-6B65-018F-4D75D0A6547F}"/>
              </a:ext>
            </a:extLst>
          </p:cNvPr>
          <p:cNvSpPr txBox="1">
            <a:spLocks/>
          </p:cNvSpPr>
          <p:nvPr/>
        </p:nvSpPr>
        <p:spPr>
          <a:xfrm>
            <a:off x="284824" y="6408380"/>
            <a:ext cx="2477765" cy="19050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2025 cloudflight / IBM Corporation </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4162668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0.70"/>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1000" fill="hold"/>
                                        <p:tgtEl>
                                          <p:spTgt spid="14"/>
                                        </p:tgtEl>
                                        <p:attrNameLst>
                                          <p:attrName>ppt_w</p:attrName>
                                        </p:attrNameLst>
                                      </p:cBhvr>
                                      <p:tavLst>
                                        <p:tav tm="0">
                                          <p:val>
                                            <p:strVal val="#ppt_w*0.70"/>
                                          </p:val>
                                        </p:tav>
                                        <p:tav tm="100000">
                                          <p:val>
                                            <p:strVal val="#ppt_w"/>
                                          </p:val>
                                        </p:tav>
                                      </p:tavLst>
                                    </p:anim>
                                    <p:anim calcmode="lin" valueType="num">
                                      <p:cBhvr>
                                        <p:cTn id="15" dur="1000" fill="hold"/>
                                        <p:tgtEl>
                                          <p:spTgt spid="14"/>
                                        </p:tgtEl>
                                        <p:attrNameLst>
                                          <p:attrName>ppt_h</p:attrName>
                                        </p:attrNameLst>
                                      </p:cBhvr>
                                      <p:tavLst>
                                        <p:tav tm="0">
                                          <p:val>
                                            <p:strVal val="#ppt_h"/>
                                          </p:val>
                                        </p:tav>
                                        <p:tav tm="100000">
                                          <p:val>
                                            <p:strVal val="#ppt_h"/>
                                          </p:val>
                                        </p:tav>
                                      </p:tavLst>
                                    </p:anim>
                                    <p:animEffect transition="in" filter="fade">
                                      <p:cBhvr>
                                        <p:cTn id="16"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Arrow Connector 63">
            <a:extLst>
              <a:ext uri="{FF2B5EF4-FFF2-40B4-BE49-F238E27FC236}">
                <a16:creationId xmlns:a16="http://schemas.microsoft.com/office/drawing/2014/main" id="{D99B5C3C-4348-D00B-1160-9A17D8090D96}"/>
              </a:ext>
            </a:extLst>
          </p:cNvPr>
          <p:cNvCxnSpPr/>
          <p:nvPr/>
        </p:nvCxnSpPr>
        <p:spPr bwMode="auto">
          <a:xfrm flipV="1">
            <a:off x="2443460" y="2587595"/>
            <a:ext cx="8900991" cy="4483"/>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Title 1">
            <a:extLst>
              <a:ext uri="{FF2B5EF4-FFF2-40B4-BE49-F238E27FC236}">
                <a16:creationId xmlns:a16="http://schemas.microsoft.com/office/drawing/2014/main" id="{1D081F87-2AD8-59F6-CB56-36EF63D1EA06}"/>
              </a:ext>
            </a:extLst>
          </p:cNvPr>
          <p:cNvSpPr txBox="1">
            <a:spLocks/>
          </p:cNvSpPr>
          <p:nvPr/>
        </p:nvSpPr>
        <p:spPr>
          <a:xfrm>
            <a:off x="262927" y="645839"/>
            <a:ext cx="2218820" cy="75161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1218956" rtl="0" eaLnBrk="1" latinLnBrk="0" hangingPunct="1">
              <a:lnSpc>
                <a:spcPct val="100000"/>
              </a:lnSpc>
              <a:spcBef>
                <a:spcPts val="0"/>
              </a:spcBef>
              <a:spcAft>
                <a:spcPts val="0"/>
              </a:spcAft>
              <a:buClrTx/>
              <a:buSzTx/>
              <a:buFontTx/>
              <a:buNone/>
              <a:tabLst/>
              <a:defRPr sz="3198" b="0" i="0" u="none" strike="noStrike" cap="none" spc="0" baseline="0">
                <a:solidFill>
                  <a:schemeClr val="tx2"/>
                </a:solidFill>
                <a:uFillTx/>
                <a:latin typeface="IBM Plex Sans Light"/>
                <a:ea typeface="IBM Plex Sans Light"/>
                <a:cs typeface="IBM Plex Sans Light"/>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rgbClr val="000000"/>
                </a:solidFill>
                <a:effectLst/>
                <a:uLnTx/>
                <a:uFillTx/>
                <a:latin typeface="IBM Plex Sans Light"/>
                <a:sym typeface="IBM Plex Sans Light"/>
              </a:rPr>
              <a:t>Multi-agent orchestration</a:t>
            </a:r>
          </a:p>
        </p:txBody>
      </p:sp>
      <p:sp>
        <p:nvSpPr>
          <p:cNvPr id="108" name="Title 1">
            <a:extLst>
              <a:ext uri="{FF2B5EF4-FFF2-40B4-BE49-F238E27FC236}">
                <a16:creationId xmlns:a16="http://schemas.microsoft.com/office/drawing/2014/main" id="{84C29A27-1487-2207-75C6-59CB2AA81842}"/>
              </a:ext>
            </a:extLst>
          </p:cNvPr>
          <p:cNvSpPr txBox="1">
            <a:spLocks/>
          </p:cNvSpPr>
          <p:nvPr/>
        </p:nvSpPr>
        <p:spPr>
          <a:xfrm>
            <a:off x="265660" y="102532"/>
            <a:ext cx="3369637" cy="3933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1218956" rtl="0" eaLnBrk="1" latinLnBrk="0" hangingPunct="1">
              <a:lnSpc>
                <a:spcPct val="100000"/>
              </a:lnSpc>
              <a:spcBef>
                <a:spcPts val="0"/>
              </a:spcBef>
              <a:spcAft>
                <a:spcPts val="0"/>
              </a:spcAft>
              <a:buClrTx/>
              <a:buSzTx/>
              <a:buFontTx/>
              <a:buNone/>
              <a:tabLst/>
              <a:defRPr sz="3399" b="0" i="0" u="none" strike="noStrike" cap="none" spc="0" baseline="0">
                <a:solidFill>
                  <a:schemeClr val="tx2"/>
                </a:solidFill>
                <a:uFillTx/>
                <a:latin typeface="IBM Plex Sans Light"/>
                <a:ea typeface="IBM Plex Sans Light"/>
                <a:cs typeface="IBM Plex Sans Light"/>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F62FE"/>
                </a:solidFill>
                <a:effectLst/>
                <a:uLnTx/>
                <a:uFillTx/>
                <a:latin typeface="IBM Plex Sans Light"/>
                <a:sym typeface="IBM Plex Sans Light"/>
              </a:rPr>
              <a:t>AI Agents &amp; Assistants, </a:t>
            </a:r>
            <a:r>
              <a:rPr kumimoji="0" lang="en-US" sz="1400" b="1" i="0" u="none" strike="noStrike" kern="0" cap="none" spc="0" normalizeH="0" baseline="0" noProof="0">
                <a:ln>
                  <a:noFill/>
                </a:ln>
                <a:solidFill>
                  <a:srgbClr val="000000"/>
                </a:solidFill>
                <a:effectLst/>
                <a:uLnTx/>
                <a:uFillTx/>
                <a:latin typeface="IBM Plex Sans Light"/>
                <a:sym typeface="IBM Plex Sans Light"/>
              </a:rPr>
              <a:t>AI Agents</a:t>
            </a:r>
            <a:endParaRPr kumimoji="0" lang="en-US" sz="1100" b="1" i="0" u="none" strike="noStrike" kern="0" cap="none" spc="0" normalizeH="0" baseline="0" noProof="0">
              <a:ln>
                <a:noFill/>
              </a:ln>
              <a:solidFill>
                <a:srgbClr val="000000"/>
              </a:solidFill>
              <a:effectLst/>
              <a:uLnTx/>
              <a:uFillTx/>
              <a:latin typeface="IBM Plex Sans Light"/>
              <a:sym typeface="IBM Plex Sans Light"/>
            </a:endParaRPr>
          </a:p>
        </p:txBody>
      </p:sp>
      <p:sp>
        <p:nvSpPr>
          <p:cNvPr id="111" name="Text Placeholder 8">
            <a:extLst>
              <a:ext uri="{FF2B5EF4-FFF2-40B4-BE49-F238E27FC236}">
                <a16:creationId xmlns:a16="http://schemas.microsoft.com/office/drawing/2014/main" id="{AC5CDB04-7828-554F-97AA-5BA14D37AC02}"/>
              </a:ext>
            </a:extLst>
          </p:cNvPr>
          <p:cNvSpPr txBox="1">
            <a:spLocks/>
          </p:cNvSpPr>
          <p:nvPr/>
        </p:nvSpPr>
        <p:spPr>
          <a:xfrm>
            <a:off x="2440856" y="506146"/>
            <a:ext cx="3532632" cy="367895"/>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F62FE"/>
                </a:solidFill>
                <a:effectLst/>
                <a:uLnTx/>
                <a:uFillTx/>
                <a:latin typeface="IBM Plex Sans Light"/>
                <a:sym typeface="IBM Plex Sans Light"/>
              </a:rPr>
              <a:t>Overview</a:t>
            </a:r>
          </a:p>
        </p:txBody>
      </p:sp>
      <p:sp>
        <p:nvSpPr>
          <p:cNvPr id="112" name="Text Placeholder 9">
            <a:extLst>
              <a:ext uri="{FF2B5EF4-FFF2-40B4-BE49-F238E27FC236}">
                <a16:creationId xmlns:a16="http://schemas.microsoft.com/office/drawing/2014/main" id="{A0FF982C-C3F4-B5A3-C0A5-42D32C3A5F20}"/>
              </a:ext>
            </a:extLst>
          </p:cNvPr>
          <p:cNvSpPr txBox="1">
            <a:spLocks/>
          </p:cNvSpPr>
          <p:nvPr/>
        </p:nvSpPr>
        <p:spPr>
          <a:xfrm>
            <a:off x="5970862" y="506146"/>
            <a:ext cx="1741664" cy="365169"/>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F62FE"/>
                </a:solidFill>
                <a:effectLst/>
                <a:uLnTx/>
                <a:uFillTx/>
                <a:latin typeface="IBM Plex Sans Light"/>
                <a:sym typeface="IBM Plex Sans Light"/>
              </a:rPr>
              <a:t>Benefits</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IBM Plex Sans Light"/>
              <a:sym typeface="IBM Plex Sans Light"/>
            </a:endParaRPr>
          </a:p>
        </p:txBody>
      </p:sp>
      <p:cxnSp>
        <p:nvCxnSpPr>
          <p:cNvPr id="113" name="Straight Connector 112">
            <a:extLst>
              <a:ext uri="{FF2B5EF4-FFF2-40B4-BE49-F238E27FC236}">
                <a16:creationId xmlns:a16="http://schemas.microsoft.com/office/drawing/2014/main" id="{0F54E127-9976-C1EB-8AEB-DA7594A0E415}"/>
              </a:ext>
            </a:extLst>
          </p:cNvPr>
          <p:cNvCxnSpPr/>
          <p:nvPr/>
        </p:nvCxnSpPr>
        <p:spPr bwMode="auto">
          <a:xfrm>
            <a:off x="5812554" y="546427"/>
            <a:ext cx="0" cy="204521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4" name="Text Placeholder 9">
            <a:extLst>
              <a:ext uri="{FF2B5EF4-FFF2-40B4-BE49-F238E27FC236}">
                <a16:creationId xmlns:a16="http://schemas.microsoft.com/office/drawing/2014/main" id="{3ADE7061-64A1-6C38-6ACF-2F6320CCDE81}"/>
              </a:ext>
            </a:extLst>
          </p:cNvPr>
          <p:cNvSpPr txBox="1">
            <a:spLocks/>
          </p:cNvSpPr>
          <p:nvPr/>
        </p:nvSpPr>
        <p:spPr>
          <a:xfrm>
            <a:off x="5969072" y="909556"/>
            <a:ext cx="5158862" cy="1728191"/>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IBM Plex Sans Light"/>
                <a:sym typeface="IBM Plex Sans Light"/>
              </a:rPr>
              <a:t>LLM-powered routing </a:t>
            </a:r>
            <a:r>
              <a:rPr kumimoji="0" lang="en-US" sz="1200" b="0" i="0" u="none" strike="noStrike" kern="0" cap="none" spc="0" normalizeH="0" baseline="0" noProof="0">
                <a:ln>
                  <a:noFill/>
                </a:ln>
                <a:solidFill>
                  <a:srgbClr val="000000"/>
                </a:solidFill>
                <a:effectLst/>
                <a:uLnTx/>
                <a:uFillTx/>
                <a:latin typeface="IBM Plex Sans Light"/>
                <a:sym typeface="IBM Plex Sans Light"/>
              </a:rPr>
              <a:t>to the most relevant agents, assistants, and skills to resolve the task at hand</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700" b="1"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IBM Plex Sans Light"/>
                <a:sym typeface="IBM Plex Sans Light"/>
              </a:rPr>
              <a:t>Easy to scale &amp; adjust</a:t>
            </a:r>
            <a:r>
              <a:rPr kumimoji="0" lang="en-US" sz="1200" b="0" i="0" u="none" strike="noStrike" kern="0" cap="none" spc="0" normalizeH="0" baseline="0" noProof="0">
                <a:ln>
                  <a:noFill/>
                </a:ln>
                <a:solidFill>
                  <a:srgbClr val="000000"/>
                </a:solidFill>
                <a:effectLst/>
                <a:uLnTx/>
                <a:uFillTx/>
                <a:latin typeface="IBM Plex Sans Light"/>
                <a:sym typeface="IBM Plex Sans Light"/>
              </a:rPr>
              <a:t>, accelerating time to value each time you add new functionality</a:t>
            </a:r>
            <a:r>
              <a:rPr kumimoji="0" lang="en-US" sz="1200" b="1" i="0" u="none" strike="noStrike" kern="0" cap="none" spc="0" normalizeH="0" baseline="0" noProof="0">
                <a:ln>
                  <a:noFill/>
                </a:ln>
                <a:solidFill>
                  <a:srgbClr val="000000"/>
                </a:solidFill>
                <a:effectLst/>
                <a:uLnTx/>
                <a:uFillTx/>
                <a:latin typeface="IBM Plex Sans Light"/>
                <a:sym typeface="IBM Plex Sans Light"/>
              </a:rPr>
              <a:t> </a:t>
            </a:r>
            <a:r>
              <a:rPr kumimoji="0" lang="en-US" sz="1200" b="0" i="0" u="none" strike="noStrike" kern="0" cap="none" spc="0" normalizeH="0" baseline="0" noProof="0">
                <a:ln>
                  <a:noFill/>
                </a:ln>
                <a:solidFill>
                  <a:srgbClr val="000000"/>
                </a:solidFill>
                <a:effectLst/>
                <a:uLnTx/>
                <a:uFillTx/>
                <a:latin typeface="IBM Plex Sans Light"/>
                <a:sym typeface="IBM Plex Sans Light"/>
              </a:rPr>
              <a:t>as your enterprise requirements and tech stack evolves </a:t>
            </a:r>
            <a:endParaRPr kumimoji="0" lang="en-US" sz="1200" b="1"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800" b="1"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IBM Plex Sans Light"/>
                <a:sym typeface="IBM Plex Sans Light"/>
              </a:rPr>
              <a:t>Embed anywhere </a:t>
            </a:r>
            <a:r>
              <a:rPr kumimoji="0" lang="en-US" sz="1200" b="0" i="0" u="none" strike="noStrike" kern="0" cap="none" spc="0" normalizeH="0" baseline="0" noProof="0">
                <a:ln>
                  <a:noFill/>
                </a:ln>
                <a:solidFill>
                  <a:srgbClr val="000000"/>
                </a:solidFill>
                <a:effectLst/>
                <a:uLnTx/>
                <a:uFillTx/>
                <a:latin typeface="IBM Plex Sans Light"/>
                <a:sym typeface="IBM Plex Sans Light"/>
              </a:rPr>
              <a:t>for enhanced collaboration and user experience</a:t>
            </a:r>
          </a:p>
        </p:txBody>
      </p:sp>
      <p:sp>
        <p:nvSpPr>
          <p:cNvPr id="115" name="Text Placeholder 9">
            <a:extLst>
              <a:ext uri="{FF2B5EF4-FFF2-40B4-BE49-F238E27FC236}">
                <a16:creationId xmlns:a16="http://schemas.microsoft.com/office/drawing/2014/main" id="{87497990-CE7D-D4A2-8C0C-47C88C5C7C67}"/>
              </a:ext>
            </a:extLst>
          </p:cNvPr>
          <p:cNvSpPr txBox="1">
            <a:spLocks/>
          </p:cNvSpPr>
          <p:nvPr/>
        </p:nvSpPr>
        <p:spPr>
          <a:xfrm>
            <a:off x="2438890" y="906409"/>
            <a:ext cx="3373240" cy="1545359"/>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IBM Plex Sans Light"/>
                <a:sym typeface="IBM Plex Sans Light"/>
              </a:rPr>
              <a:t>To drive productivity, enterprises will need multiple agents across domains to execute their complex use cases.</a:t>
            </a:r>
            <a:endParaRPr kumimoji="0" lang="en-US" sz="1800" b="0" i="0" u="none" strike="noStrike" kern="120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IBM Plex Sans Light"/>
                <a:sym typeface="IBM Plex Sans Light"/>
              </a:rPr>
              <a:t>IBM offers a multi-agent, multi-tool supervisor, router, and planner to facilitate complex task execution across your agent landscape.</a:t>
            </a:r>
            <a:endParaRPr kumimoji="0" lang="en-US" sz="1800" b="0" i="0" u="none" strike="noStrike" kern="120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2" name="TextBox 1">
            <a:extLst>
              <a:ext uri="{FF2B5EF4-FFF2-40B4-BE49-F238E27FC236}">
                <a16:creationId xmlns:a16="http://schemas.microsoft.com/office/drawing/2014/main" id="{64CB2366-D05B-C886-4791-924A6CBC157B}"/>
              </a:ext>
            </a:extLst>
          </p:cNvPr>
          <p:cNvSpPr txBox="1"/>
          <p:nvPr/>
        </p:nvSpPr>
        <p:spPr>
          <a:xfrm>
            <a:off x="11867725" y="6552793"/>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0" marR="0" lvl="0" indent="0" algn="l" defTabSz="1218956" rtl="0" eaLnBrk="1" fontAlgn="auto" latinLnBrk="0" hangingPunct="1">
              <a:lnSpc>
                <a:spcPct val="100000"/>
              </a:lnSpc>
              <a:spcBef>
                <a:spcPts val="1450"/>
              </a:spcBef>
              <a:spcAft>
                <a:spcPts val="0"/>
              </a:spcAft>
              <a:buClrTx/>
              <a:buSzPct val="100000"/>
              <a:buFontTx/>
              <a:buNone/>
              <a:tabLst/>
              <a:defRPr/>
            </a:pPr>
            <a:endParaRPr kumimoji="0" lang="en-US" sz="18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3" name="Slide Number Placeholder 5">
            <a:extLst>
              <a:ext uri="{FF2B5EF4-FFF2-40B4-BE49-F238E27FC236}">
                <a16:creationId xmlns:a16="http://schemas.microsoft.com/office/drawing/2014/main" id="{BE9BC2B3-8B5E-3B25-205C-D06BB6D14877}"/>
              </a:ext>
            </a:extLst>
          </p:cNvPr>
          <p:cNvSpPr txBox="1">
            <a:spLocks/>
          </p:cNvSpPr>
          <p:nvPr/>
        </p:nvSpPr>
        <p:spPr>
          <a:xfrm>
            <a:off x="11458502" y="6537555"/>
            <a:ext cx="459926" cy="182856"/>
          </a:xfrm>
          <a:prstGeom prst="rect">
            <a:avLst/>
          </a:prstGeom>
        </p:spPr>
        <p:txBody>
          <a:bodyPr vert="horz" lIns="0" tIns="0" rIns="0" bIns="0" rtlCol="0" anchor="ct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r" defTabSz="1828304" rtl="0" eaLnBrk="1" fontAlgn="auto" latinLnBrk="0" hangingPunct="1">
              <a:lnSpc>
                <a:spcPct val="100000"/>
              </a:lnSpc>
              <a:spcBef>
                <a:spcPts val="0"/>
              </a:spcBef>
              <a:spcAft>
                <a:spcPts val="0"/>
              </a:spcAft>
              <a:buClrTx/>
              <a:buSzTx/>
              <a:buFontTx/>
              <a:buNone/>
              <a:tabLst/>
              <a:defRPr/>
            </a:pPr>
            <a:fld id="{48D7F682-F14B-F843-BB27-DCCE6EB7FFC1}" type="slidenum">
              <a:rPr kumimoji="0" lang="en-US" sz="800" b="0" i="0" u="none" strike="noStrike" kern="1200" cap="none" spc="0" normalizeH="0" baseline="0" noProof="0">
                <a:ln>
                  <a:noFill/>
                </a:ln>
                <a:solidFill>
                  <a:srgbClr val="FFFFFF"/>
                </a:solidFill>
                <a:effectLst/>
                <a:uLnTx/>
                <a:uFillTx/>
                <a:latin typeface="IBM Plex Sans Light" panose="020B0403050203000203" pitchFamily="34" charset="0"/>
                <a:ea typeface="Helvetica Neue"/>
                <a:cs typeface="Helvetica Neue"/>
              </a:rPr>
              <a:pPr marL="0" marR="0" lvl="0" indent="0" algn="r" defTabSz="1828304"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IBM Plex Sans Light" panose="020B0403050203000203" pitchFamily="34" charset="0"/>
              <a:ea typeface="Helvetica Neue"/>
              <a:cs typeface="Helvetica Neue"/>
            </a:endParaRPr>
          </a:p>
        </p:txBody>
      </p:sp>
      <p:pic>
        <p:nvPicPr>
          <p:cNvPr id="84" name="Picture 83">
            <a:extLst>
              <a:ext uri="{FF2B5EF4-FFF2-40B4-BE49-F238E27FC236}">
                <a16:creationId xmlns:a16="http://schemas.microsoft.com/office/drawing/2014/main" id="{C7858EA4-5C28-DEA1-43DF-AA7D5B89BCF7}"/>
              </a:ext>
            </a:extLst>
          </p:cNvPr>
          <p:cNvPicPr>
            <a:picLocks noChangeAspect="1"/>
          </p:cNvPicPr>
          <p:nvPr/>
        </p:nvPicPr>
        <p:blipFill>
          <a:blip r:embed="rId2"/>
          <a:srcRect l="-52849" t="380000" r="51994" b="-386667"/>
          <a:stretch/>
        </p:blipFill>
        <p:spPr>
          <a:xfrm>
            <a:off x="4481513" y="3504972"/>
            <a:ext cx="1079121" cy="147562"/>
          </a:xfrm>
          <a:prstGeom prst="rect">
            <a:avLst/>
          </a:prstGeom>
        </p:spPr>
      </p:pic>
      <p:grpSp>
        <p:nvGrpSpPr>
          <p:cNvPr id="17" name="Group 16">
            <a:extLst>
              <a:ext uri="{FF2B5EF4-FFF2-40B4-BE49-F238E27FC236}">
                <a16:creationId xmlns:a16="http://schemas.microsoft.com/office/drawing/2014/main" id="{9E2909F3-81A9-FDAD-EA52-E9FEAAAF0AA5}"/>
              </a:ext>
            </a:extLst>
          </p:cNvPr>
          <p:cNvGrpSpPr/>
          <p:nvPr/>
        </p:nvGrpSpPr>
        <p:grpSpPr>
          <a:xfrm>
            <a:off x="2481260" y="2760689"/>
            <a:ext cx="8680227" cy="3954924"/>
            <a:chOff x="2299831" y="2760689"/>
            <a:chExt cx="8680227" cy="3954924"/>
          </a:xfrm>
        </p:grpSpPr>
        <p:pic>
          <p:nvPicPr>
            <p:cNvPr id="94" name="Picture 93">
              <a:extLst>
                <a:ext uri="{FF2B5EF4-FFF2-40B4-BE49-F238E27FC236}">
                  <a16:creationId xmlns:a16="http://schemas.microsoft.com/office/drawing/2014/main" id="{B1058B3F-EE1F-C234-70E8-C5E238B15E10}"/>
                </a:ext>
              </a:extLst>
            </p:cNvPr>
            <p:cNvPicPr>
              <a:picLocks noChangeAspect="1"/>
            </p:cNvPicPr>
            <p:nvPr/>
          </p:nvPicPr>
          <p:blipFill>
            <a:blip r:embed="rId3"/>
            <a:stretch>
              <a:fillRect/>
            </a:stretch>
          </p:blipFill>
          <p:spPr>
            <a:xfrm>
              <a:off x="9446986" y="5350782"/>
              <a:ext cx="373743" cy="274865"/>
            </a:xfrm>
            <a:prstGeom prst="rect">
              <a:avLst/>
            </a:prstGeom>
          </p:spPr>
        </p:pic>
        <p:grpSp>
          <p:nvGrpSpPr>
            <p:cNvPr id="15" name="Group 14">
              <a:extLst>
                <a:ext uri="{FF2B5EF4-FFF2-40B4-BE49-F238E27FC236}">
                  <a16:creationId xmlns:a16="http://schemas.microsoft.com/office/drawing/2014/main" id="{5DB84669-E978-8A38-39FD-163BEDA81158}"/>
                </a:ext>
              </a:extLst>
            </p:cNvPr>
            <p:cNvGrpSpPr/>
            <p:nvPr/>
          </p:nvGrpSpPr>
          <p:grpSpPr>
            <a:xfrm>
              <a:off x="2299831" y="2760689"/>
              <a:ext cx="8680227" cy="3954924"/>
              <a:chOff x="2299831" y="2760689"/>
              <a:chExt cx="8680227" cy="3954924"/>
            </a:xfrm>
          </p:grpSpPr>
          <p:grpSp>
            <p:nvGrpSpPr>
              <p:cNvPr id="63" name="Group 62">
                <a:extLst>
                  <a:ext uri="{FF2B5EF4-FFF2-40B4-BE49-F238E27FC236}">
                    <a16:creationId xmlns:a16="http://schemas.microsoft.com/office/drawing/2014/main" id="{3EEC4843-37C5-77EF-EB23-8DB1B4FBFC1B}"/>
                  </a:ext>
                </a:extLst>
              </p:cNvPr>
              <p:cNvGrpSpPr/>
              <p:nvPr/>
            </p:nvGrpSpPr>
            <p:grpSpPr>
              <a:xfrm>
                <a:off x="2299831" y="2760689"/>
                <a:ext cx="7950832" cy="3954924"/>
                <a:chOff x="2726188" y="2799998"/>
                <a:chExt cx="7950832" cy="3954924"/>
              </a:xfrm>
            </p:grpSpPr>
            <p:sp>
              <p:nvSpPr>
                <p:cNvPr id="39" name="TextBox 38">
                  <a:extLst>
                    <a:ext uri="{FF2B5EF4-FFF2-40B4-BE49-F238E27FC236}">
                      <a16:creationId xmlns:a16="http://schemas.microsoft.com/office/drawing/2014/main" id="{D3451D81-BDB9-0BCE-9B71-45504280266C}"/>
                    </a:ext>
                  </a:extLst>
                </p:cNvPr>
                <p:cNvSpPr txBox="1"/>
                <p:nvPr/>
              </p:nvSpPr>
              <p:spPr>
                <a:xfrm>
                  <a:off x="8290685" y="6273053"/>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Data Sources </a:t>
                  </a:r>
                  <a:b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b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SQL, etc.)</a:t>
                  </a:r>
                </a:p>
              </p:txBody>
            </p:sp>
            <p:sp>
              <p:nvSpPr>
                <p:cNvPr id="41" name="TextBox 40">
                  <a:extLst>
                    <a:ext uri="{FF2B5EF4-FFF2-40B4-BE49-F238E27FC236}">
                      <a16:creationId xmlns:a16="http://schemas.microsoft.com/office/drawing/2014/main" id="{87B71529-6179-D84A-4269-FB1C2799CF41}"/>
                    </a:ext>
                  </a:extLst>
                </p:cNvPr>
                <p:cNvSpPr txBox="1"/>
                <p:nvPr/>
              </p:nvSpPr>
              <p:spPr>
                <a:xfrm>
                  <a:off x="9019623" y="6281653"/>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Built-In Tools (Web search, …)</a:t>
                  </a:r>
                </a:p>
              </p:txBody>
            </p:sp>
            <p:sp>
              <p:nvSpPr>
                <p:cNvPr id="9" name="Rectangle 8">
                  <a:extLst>
                    <a:ext uri="{FF2B5EF4-FFF2-40B4-BE49-F238E27FC236}">
                      <a16:creationId xmlns:a16="http://schemas.microsoft.com/office/drawing/2014/main" id="{90023388-C44F-6F45-2292-FFA54B3A1CD8}"/>
                    </a:ext>
                  </a:extLst>
                </p:cNvPr>
                <p:cNvSpPr/>
                <p:nvPr/>
              </p:nvSpPr>
              <p:spPr bwMode="auto">
                <a:xfrm>
                  <a:off x="8242523" y="3491706"/>
                  <a:ext cx="1403287" cy="3091659"/>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cxnSp>
              <p:nvCxnSpPr>
                <p:cNvPr id="5" name="Elbow Connector 4">
                  <a:extLst>
                    <a:ext uri="{FF2B5EF4-FFF2-40B4-BE49-F238E27FC236}">
                      <a16:creationId xmlns:a16="http://schemas.microsoft.com/office/drawing/2014/main" id="{C5530A2B-CA4E-CAB5-583A-A766F71D32B5}"/>
                    </a:ext>
                  </a:extLst>
                </p:cNvPr>
                <p:cNvCxnSpPr>
                  <a:cxnSpLocks/>
                  <a:stCxn id="87" idx="2"/>
                </p:cNvCxnSpPr>
                <p:nvPr/>
              </p:nvCxnSpPr>
              <p:spPr bwMode="auto">
                <a:xfrm rot="16200000" flipH="1">
                  <a:off x="5969527" y="3372046"/>
                  <a:ext cx="958488" cy="3553448"/>
                </a:xfrm>
                <a:prstGeom prst="bentConnector2">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8C9F2D45-F8EA-B072-E4AA-4AC8427C0EC7}"/>
                    </a:ext>
                  </a:extLst>
                </p:cNvPr>
                <p:cNvSpPr/>
                <p:nvPr/>
              </p:nvSpPr>
              <p:spPr bwMode="auto">
                <a:xfrm>
                  <a:off x="5385859" y="2799998"/>
                  <a:ext cx="2066449" cy="3923442"/>
                </a:xfrm>
                <a:prstGeom prst="rect">
                  <a:avLst/>
                </a:prstGeom>
                <a:solidFill>
                  <a:srgbClr val="E5F6FF"/>
                </a:solidFill>
                <a:ln w="12700">
                  <a:solidFill>
                    <a:schemeClr val="accent1"/>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grpSp>
              <p:nvGrpSpPr>
                <p:cNvPr id="10" name="Group 9">
                  <a:extLst>
                    <a:ext uri="{FF2B5EF4-FFF2-40B4-BE49-F238E27FC236}">
                      <a16:creationId xmlns:a16="http://schemas.microsoft.com/office/drawing/2014/main" id="{7CBB487D-FAC3-09D3-F0B9-F7F89D74AFF5}"/>
                    </a:ext>
                  </a:extLst>
                </p:cNvPr>
                <p:cNvGrpSpPr/>
                <p:nvPr/>
              </p:nvGrpSpPr>
              <p:grpSpPr>
                <a:xfrm>
                  <a:off x="4290193" y="3904838"/>
                  <a:ext cx="763707" cy="764688"/>
                  <a:chOff x="11476462" y="12432545"/>
                  <a:chExt cx="719077" cy="720000"/>
                </a:xfrm>
              </p:grpSpPr>
              <p:sp>
                <p:nvSpPr>
                  <p:cNvPr id="87" name="Rounded Rectangle 86">
                    <a:extLst>
                      <a:ext uri="{FF2B5EF4-FFF2-40B4-BE49-F238E27FC236}">
                        <a16:creationId xmlns:a16="http://schemas.microsoft.com/office/drawing/2014/main" id="{28CCE822-4DBF-CDCD-FE26-A140A860045F}"/>
                      </a:ext>
                    </a:extLst>
                  </p:cNvPr>
                  <p:cNvSpPr>
                    <a:spLocks noChangeAspect="1"/>
                  </p:cNvSpPr>
                  <p:nvPr/>
                </p:nvSpPr>
                <p:spPr bwMode="auto">
                  <a:xfrm>
                    <a:off x="11476462" y="12432545"/>
                    <a:ext cx="719077" cy="720000"/>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6" tIns="22846" rIns="22846" bIns="22846" numCol="1" rtlCol="0" anchor="t" anchorCtr="0" compatLnSpc="1">
                    <a:prstTxWarp prst="textNoShape">
                      <a:avLst/>
                    </a:prstTxWarp>
                  </a:bodyPr>
                  <a:lstStyle/>
                  <a:p>
                    <a:pPr marL="0" marR="0" lvl="0" indent="0" algn="l" defTabSz="228420"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88" name="Graphic 87">
                    <a:extLst>
                      <a:ext uri="{FF2B5EF4-FFF2-40B4-BE49-F238E27FC236}">
                        <a16:creationId xmlns:a16="http://schemas.microsoft.com/office/drawing/2014/main" id="{18AD4F68-04DD-C37C-06B1-32E7ECB4E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38000" y="12594545"/>
                    <a:ext cx="396000" cy="396000"/>
                  </a:xfrm>
                  <a:prstGeom prst="rect">
                    <a:avLst/>
                  </a:prstGeom>
                </p:spPr>
              </p:pic>
            </p:grpSp>
            <p:pic>
              <p:nvPicPr>
                <p:cNvPr id="11" name="Picture 10" descr="User, Blue 60 pictogram">
                  <a:extLst>
                    <a:ext uri="{FF2B5EF4-FFF2-40B4-BE49-F238E27FC236}">
                      <a16:creationId xmlns:a16="http://schemas.microsoft.com/office/drawing/2014/main" id="{05927EDB-96E4-61EA-1024-0DE71AC276B1}"/>
                    </a:ext>
                  </a:extLst>
                </p:cNvPr>
                <p:cNvPicPr>
                  <a:picLocks noChangeAspect="1"/>
                </p:cNvPicPr>
                <p:nvPr/>
              </p:nvPicPr>
              <p:blipFill>
                <a:blip r:embed="rId6"/>
                <a:srcRect/>
                <a:stretch/>
              </p:blipFill>
              <p:spPr>
                <a:xfrm>
                  <a:off x="2773606" y="4045940"/>
                  <a:ext cx="395120" cy="395120"/>
                </a:xfrm>
                <a:prstGeom prst="rect">
                  <a:avLst/>
                </a:prstGeom>
              </p:spPr>
            </p:pic>
            <p:sp>
              <p:nvSpPr>
                <p:cNvPr id="13" name="Text Placeholder 3">
                  <a:extLst>
                    <a:ext uri="{FF2B5EF4-FFF2-40B4-BE49-F238E27FC236}">
                      <a16:creationId xmlns:a16="http://schemas.microsoft.com/office/drawing/2014/main" id="{D77964CB-A1EF-6D2F-39BF-A888D422557D}"/>
                    </a:ext>
                  </a:extLst>
                </p:cNvPr>
                <p:cNvSpPr txBox="1">
                  <a:spLocks/>
                </p:cNvSpPr>
                <p:nvPr/>
              </p:nvSpPr>
              <p:spPr>
                <a:xfrm>
                  <a:off x="5654685" y="4232758"/>
                  <a:ext cx="1734932" cy="180248"/>
                </a:xfrm>
                <a:prstGeom prst="rect">
                  <a:avLst/>
                </a:prstGeom>
              </p:spPr>
              <p:txBody>
                <a:bodyPr vert="horz" lIns="0" tIns="0" rIns="0" bIns="0" rtlCol="0" anchor="t">
                  <a:normAutofit/>
                </a:bodyPr>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4570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a:ea typeface="Helvetica Neue"/>
                      <a:cs typeface="Helvetica Neue"/>
                    </a:rPr>
                    <a:t>HR, Procurement, Sales, etc.</a:t>
                  </a:r>
                  <a:endParaRPr kumimoji="0" lang="en-US" sz="1000" b="0" i="0" u="none" strike="noStrike" kern="1200" cap="none" spc="0" normalizeH="0" baseline="0" noProof="0">
                    <a:ln>
                      <a:noFill/>
                    </a:ln>
                    <a:solidFill>
                      <a:srgbClr val="000000"/>
                    </a:solidFill>
                    <a:effectLst/>
                    <a:uLnTx/>
                    <a:uFillTx/>
                    <a:latin typeface="IBM Plex Sans" panose="020B0503050203000203" pitchFamily="34" charset="0"/>
                    <a:ea typeface="Helvetica Neue"/>
                    <a:cs typeface="Helvetica Neue"/>
                  </a:endParaRPr>
                </a:p>
              </p:txBody>
            </p:sp>
            <p:grpSp>
              <p:nvGrpSpPr>
                <p:cNvPr id="16" name="Group 15">
                  <a:extLst>
                    <a:ext uri="{FF2B5EF4-FFF2-40B4-BE49-F238E27FC236}">
                      <a16:creationId xmlns:a16="http://schemas.microsoft.com/office/drawing/2014/main" id="{2BE287A1-1FCF-332F-5F42-0D57C6AACDEC}"/>
                    </a:ext>
                  </a:extLst>
                </p:cNvPr>
                <p:cNvGrpSpPr/>
                <p:nvPr/>
              </p:nvGrpSpPr>
              <p:grpSpPr>
                <a:xfrm>
                  <a:off x="6263054" y="5829734"/>
                  <a:ext cx="441200" cy="441768"/>
                  <a:chOff x="13881973" y="7040112"/>
                  <a:chExt cx="1042445" cy="1043785"/>
                </a:xfrm>
              </p:grpSpPr>
              <p:sp>
                <p:nvSpPr>
                  <p:cNvPr id="81" name="Rounded Rectangle 80">
                    <a:extLst>
                      <a:ext uri="{FF2B5EF4-FFF2-40B4-BE49-F238E27FC236}">
                        <a16:creationId xmlns:a16="http://schemas.microsoft.com/office/drawing/2014/main" id="{9CA8788C-D757-937D-73A2-5464C2395EF6}"/>
                      </a:ext>
                    </a:extLst>
                  </p:cNvPr>
                  <p:cNvSpPr>
                    <a:spLocks noChangeAspect="1"/>
                  </p:cNvSpPr>
                  <p:nvPr/>
                </p:nvSpPr>
                <p:spPr bwMode="auto">
                  <a:xfrm>
                    <a:off x="13881973" y="7040112"/>
                    <a:ext cx="1042445" cy="1043785"/>
                  </a:xfrm>
                  <a:prstGeom prst="roundRect">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marL="0" marR="0" lvl="0" indent="0" algn="l" defTabSz="228465"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82" name="Picture Placeholder 24" descr="DevOps, Blue 60 pictogram">
                    <a:extLst>
                      <a:ext uri="{FF2B5EF4-FFF2-40B4-BE49-F238E27FC236}">
                        <a16:creationId xmlns:a16="http://schemas.microsoft.com/office/drawing/2014/main" id="{4479582F-16F3-5168-8AAF-862EADCDBAE0}"/>
                      </a:ext>
                    </a:extLst>
                  </p:cNvPr>
                  <p:cNvPicPr>
                    <a:picLocks noChangeAspect="1"/>
                  </p:cNvPicPr>
                  <p:nvPr/>
                </p:nvPicPr>
                <p:blipFill>
                  <a:blip r:embed="rId7">
                    <a:extLst>
                      <a:ext uri="{96DAC541-7B7A-43D3-8B79-37D633B846F1}">
                        <asvg:svgBlip xmlns:asvg="http://schemas.microsoft.com/office/drawing/2016/SVG/main" r:embed="rId8"/>
                      </a:ext>
                    </a:extLst>
                  </a:blip>
                  <a:srcRect t="87" b="87"/>
                  <a:stretch>
                    <a:fillRect/>
                  </a:stretch>
                </p:blipFill>
                <p:spPr>
                  <a:xfrm>
                    <a:off x="14007632" y="7173925"/>
                    <a:ext cx="805276" cy="805276"/>
                  </a:xfrm>
                  <a:prstGeom prst="rect">
                    <a:avLst/>
                  </a:prstGeom>
                </p:spPr>
              </p:pic>
            </p:grpSp>
            <p:grpSp>
              <p:nvGrpSpPr>
                <p:cNvPr id="18" name="Group 17">
                  <a:extLst>
                    <a:ext uri="{FF2B5EF4-FFF2-40B4-BE49-F238E27FC236}">
                      <a16:creationId xmlns:a16="http://schemas.microsoft.com/office/drawing/2014/main" id="{EDA1DDF7-13A3-9FD7-F91C-DE3421F65048}"/>
                    </a:ext>
                  </a:extLst>
                </p:cNvPr>
                <p:cNvGrpSpPr/>
                <p:nvPr/>
              </p:nvGrpSpPr>
              <p:grpSpPr>
                <a:xfrm>
                  <a:off x="3394374" y="4058538"/>
                  <a:ext cx="441200" cy="441768"/>
                  <a:chOff x="7364875" y="4829951"/>
                  <a:chExt cx="1042445" cy="1043785"/>
                </a:xfrm>
              </p:grpSpPr>
              <p:sp>
                <p:nvSpPr>
                  <p:cNvPr id="79" name="Rounded Rectangle 78">
                    <a:extLst>
                      <a:ext uri="{FF2B5EF4-FFF2-40B4-BE49-F238E27FC236}">
                        <a16:creationId xmlns:a16="http://schemas.microsoft.com/office/drawing/2014/main" id="{671F8E53-E53B-069B-EE7C-1050E0B1B52D}"/>
                      </a:ext>
                    </a:extLst>
                  </p:cNvPr>
                  <p:cNvSpPr>
                    <a:spLocks noChangeAspect="1"/>
                  </p:cNvSpPr>
                  <p:nvPr/>
                </p:nvSpPr>
                <p:spPr bwMode="auto">
                  <a:xfrm>
                    <a:off x="7364875" y="4829951"/>
                    <a:ext cx="1042445" cy="1043785"/>
                  </a:xfrm>
                  <a:prstGeom prst="round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marL="0" marR="0" lvl="0" indent="0" algn="l" defTabSz="228465"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80" name="Graphic 79">
                    <a:extLst>
                      <a:ext uri="{FF2B5EF4-FFF2-40B4-BE49-F238E27FC236}">
                        <a16:creationId xmlns:a16="http://schemas.microsoft.com/office/drawing/2014/main" id="{008EE36E-8B33-F2C7-564B-4074D00FC4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62075" y="5016773"/>
                    <a:ext cx="648048" cy="648047"/>
                  </a:xfrm>
                  <a:prstGeom prst="rect">
                    <a:avLst/>
                  </a:prstGeom>
                </p:spPr>
              </p:pic>
            </p:grpSp>
            <p:cxnSp>
              <p:nvCxnSpPr>
                <p:cNvPr id="20" name="Straight Arrow Connector 19">
                  <a:extLst>
                    <a:ext uri="{FF2B5EF4-FFF2-40B4-BE49-F238E27FC236}">
                      <a16:creationId xmlns:a16="http://schemas.microsoft.com/office/drawing/2014/main" id="{40A83568-7A00-AE85-899B-60826AF0A8A1}"/>
                    </a:ext>
                  </a:extLst>
                </p:cNvPr>
                <p:cNvCxnSpPr>
                  <a:cxnSpLocks/>
                  <a:stCxn id="79" idx="3"/>
                  <a:endCxn id="87" idx="1"/>
                </p:cNvCxnSpPr>
                <p:nvPr/>
              </p:nvCxnSpPr>
              <p:spPr bwMode="auto">
                <a:xfrm>
                  <a:off x="3835574" y="4279422"/>
                  <a:ext cx="454619" cy="7760"/>
                </a:xfrm>
                <a:prstGeom prst="straightConnector1">
                  <a:avLst/>
                </a:prstGeom>
                <a:ln w="12700">
                  <a:solidFill>
                    <a:schemeClr val="tx1"/>
                  </a:solidFill>
                  <a:headEnd type="triangle" w="lg" len="lg"/>
                  <a:tailEnd type="triangle" w="lg" len="lg"/>
                </a:ln>
                <a:effectLst/>
              </p:spPr>
              <p:style>
                <a:lnRef idx="1">
                  <a:schemeClr val="dk1"/>
                </a:lnRef>
                <a:fillRef idx="0">
                  <a:schemeClr val="dk1"/>
                </a:fillRef>
                <a:effectRef idx="0">
                  <a:schemeClr val="dk1"/>
                </a:effectRef>
                <a:fontRef idx="minor">
                  <a:schemeClr val="tx1"/>
                </a:fontRef>
              </p:style>
            </p:cxnSp>
            <p:grpSp>
              <p:nvGrpSpPr>
                <p:cNvPr id="21" name="Group 20">
                  <a:extLst>
                    <a:ext uri="{FF2B5EF4-FFF2-40B4-BE49-F238E27FC236}">
                      <a16:creationId xmlns:a16="http://schemas.microsoft.com/office/drawing/2014/main" id="{A78388E4-F54F-C295-1013-F84389CA1A86}"/>
                    </a:ext>
                  </a:extLst>
                </p:cNvPr>
                <p:cNvGrpSpPr/>
                <p:nvPr/>
              </p:nvGrpSpPr>
              <p:grpSpPr>
                <a:xfrm>
                  <a:off x="8415323" y="4451382"/>
                  <a:ext cx="369340" cy="369747"/>
                  <a:chOff x="6646979" y="7758206"/>
                  <a:chExt cx="1042445" cy="1043594"/>
                </a:xfrm>
              </p:grpSpPr>
              <p:sp>
                <p:nvSpPr>
                  <p:cNvPr id="77" name="Rectangle 76">
                    <a:extLst>
                      <a:ext uri="{FF2B5EF4-FFF2-40B4-BE49-F238E27FC236}">
                        <a16:creationId xmlns:a16="http://schemas.microsoft.com/office/drawing/2014/main" id="{E94F7E73-6A6F-19D1-B8D9-FDE7BEA7BA3B}"/>
                      </a:ext>
                    </a:extLst>
                  </p:cNvPr>
                  <p:cNvSpPr/>
                  <p:nvPr/>
                </p:nvSpPr>
                <p:spPr bwMode="auto">
                  <a:xfrm>
                    <a:off x="6646979" y="7758206"/>
                    <a:ext cx="1042445" cy="1043594"/>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8" name="Picture Placeholder 28" descr="Connect, Blue 60 pictogram">
                    <a:extLst>
                      <a:ext uri="{FF2B5EF4-FFF2-40B4-BE49-F238E27FC236}">
                        <a16:creationId xmlns:a16="http://schemas.microsoft.com/office/drawing/2014/main" id="{A518CE44-A55F-8712-5FE7-121E1DD57632}"/>
                      </a:ext>
                    </a:extLst>
                  </p:cNvPr>
                  <p:cNvPicPr>
                    <a:picLocks noChangeAspect="1"/>
                  </p:cNvPicPr>
                  <p:nvPr/>
                </p:nvPicPr>
                <p:blipFill>
                  <a:blip r:embed="rId11">
                    <a:extLst>
                      <a:ext uri="{96DAC541-7B7A-43D3-8B79-37D633B846F1}">
                        <asvg:svgBlip xmlns:asvg="http://schemas.microsoft.com/office/drawing/2016/SVG/main" r:embed="rId12"/>
                      </a:ext>
                    </a:extLst>
                  </a:blip>
                  <a:srcRect t="87" b="87"/>
                  <a:stretch>
                    <a:fillRect/>
                  </a:stretch>
                </p:blipFill>
                <p:spPr>
                  <a:xfrm>
                    <a:off x="6784163" y="7854088"/>
                    <a:ext cx="805276" cy="80527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pic>
            </p:grpSp>
            <p:cxnSp>
              <p:nvCxnSpPr>
                <p:cNvPr id="22" name="Elbow Connector 21">
                  <a:extLst>
                    <a:ext uri="{FF2B5EF4-FFF2-40B4-BE49-F238E27FC236}">
                      <a16:creationId xmlns:a16="http://schemas.microsoft.com/office/drawing/2014/main" id="{2CDAAD46-7431-26C1-AED6-3A2EF81BBCF5}"/>
                    </a:ext>
                  </a:extLst>
                </p:cNvPr>
                <p:cNvCxnSpPr>
                  <a:cxnSpLocks/>
                  <a:stCxn id="87" idx="3"/>
                </p:cNvCxnSpPr>
                <p:nvPr/>
              </p:nvCxnSpPr>
              <p:spPr bwMode="auto">
                <a:xfrm flipV="1">
                  <a:off x="5053900" y="3945182"/>
                  <a:ext cx="1209154" cy="342000"/>
                </a:xfrm>
                <a:prstGeom prst="bentConnector3">
                  <a:avLst>
                    <a:gd name="adj1" fmla="val 50000"/>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cxnSp>
              <p:nvCxnSpPr>
                <p:cNvPr id="23" name="Elbow Connector 22">
                  <a:extLst>
                    <a:ext uri="{FF2B5EF4-FFF2-40B4-BE49-F238E27FC236}">
                      <a16:creationId xmlns:a16="http://schemas.microsoft.com/office/drawing/2014/main" id="{46A4C8D4-4D31-E481-EA64-0C2AA7469D68}"/>
                    </a:ext>
                  </a:extLst>
                </p:cNvPr>
                <p:cNvCxnSpPr>
                  <a:cxnSpLocks/>
                  <a:stCxn id="87" idx="3"/>
                  <a:endCxn id="81" idx="1"/>
                </p:cNvCxnSpPr>
                <p:nvPr/>
              </p:nvCxnSpPr>
              <p:spPr bwMode="auto">
                <a:xfrm>
                  <a:off x="5053900" y="4287182"/>
                  <a:ext cx="1209154" cy="1763436"/>
                </a:xfrm>
                <a:prstGeom prst="bentConnector3">
                  <a:avLst>
                    <a:gd name="adj1" fmla="val 50000"/>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grpSp>
              <p:nvGrpSpPr>
                <p:cNvPr id="24" name="Group 23">
                  <a:extLst>
                    <a:ext uri="{FF2B5EF4-FFF2-40B4-BE49-F238E27FC236}">
                      <a16:creationId xmlns:a16="http://schemas.microsoft.com/office/drawing/2014/main" id="{BA80DCC2-CAA7-13AD-0845-5F4989B7C61B}"/>
                    </a:ext>
                  </a:extLst>
                </p:cNvPr>
                <p:cNvGrpSpPr/>
                <p:nvPr/>
              </p:nvGrpSpPr>
              <p:grpSpPr>
                <a:xfrm>
                  <a:off x="9138330" y="4450024"/>
                  <a:ext cx="369340" cy="369747"/>
                  <a:chOff x="3709020" y="11288912"/>
                  <a:chExt cx="872658" cy="873620"/>
                </a:xfrm>
              </p:grpSpPr>
              <p:sp>
                <p:nvSpPr>
                  <p:cNvPr id="75" name="Rectangle 74">
                    <a:extLst>
                      <a:ext uri="{FF2B5EF4-FFF2-40B4-BE49-F238E27FC236}">
                        <a16:creationId xmlns:a16="http://schemas.microsoft.com/office/drawing/2014/main" id="{A76BE37C-212C-9CBC-FA68-E1ADE38FB75A}"/>
                      </a:ext>
                    </a:extLst>
                  </p:cNvPr>
                  <p:cNvSpPr/>
                  <p:nvPr/>
                </p:nvSpPr>
                <p:spPr bwMode="auto">
                  <a:xfrm>
                    <a:off x="3709020" y="11288912"/>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6" name="Picture 75" descr="Retrieve and rank, Blue 60 pictogram">
                    <a:extLst>
                      <a:ext uri="{FF2B5EF4-FFF2-40B4-BE49-F238E27FC236}">
                        <a16:creationId xmlns:a16="http://schemas.microsoft.com/office/drawing/2014/main" id="{6486983D-29E2-9F68-871E-CF5D08313B90}"/>
                      </a:ext>
                    </a:extLst>
                  </p:cNvPr>
                  <p:cNvPicPr>
                    <a:picLocks noChangeAspect="1"/>
                  </p:cNvPicPr>
                  <p:nvPr/>
                </p:nvPicPr>
                <p:blipFill>
                  <a:blip r:embed="rId13"/>
                  <a:srcRect/>
                  <a:stretch/>
                </p:blipFill>
                <p:spPr>
                  <a:xfrm>
                    <a:off x="3795856" y="11389270"/>
                    <a:ext cx="698986" cy="698986"/>
                  </a:xfrm>
                  <a:prstGeom prst="rect">
                    <a:avLst/>
                  </a:prstGeom>
                </p:spPr>
              </p:pic>
            </p:grpSp>
            <p:grpSp>
              <p:nvGrpSpPr>
                <p:cNvPr id="25" name="Group 24">
                  <a:extLst>
                    <a:ext uri="{FF2B5EF4-FFF2-40B4-BE49-F238E27FC236}">
                      <a16:creationId xmlns:a16="http://schemas.microsoft.com/office/drawing/2014/main" id="{A90B6D1C-58DD-75E3-2C56-054A115C29BF}"/>
                    </a:ext>
                  </a:extLst>
                </p:cNvPr>
                <p:cNvGrpSpPr/>
                <p:nvPr/>
              </p:nvGrpSpPr>
              <p:grpSpPr>
                <a:xfrm>
                  <a:off x="9138330" y="3682429"/>
                  <a:ext cx="369340" cy="369747"/>
                  <a:chOff x="9645183" y="11252376"/>
                  <a:chExt cx="872658" cy="873620"/>
                </a:xfrm>
              </p:grpSpPr>
              <p:sp>
                <p:nvSpPr>
                  <p:cNvPr id="73" name="Rectangle 72">
                    <a:extLst>
                      <a:ext uri="{FF2B5EF4-FFF2-40B4-BE49-F238E27FC236}">
                        <a16:creationId xmlns:a16="http://schemas.microsoft.com/office/drawing/2014/main" id="{677618B6-1D77-9DDA-3051-3E78D6A4962C}"/>
                      </a:ext>
                    </a:extLst>
                  </p:cNvPr>
                  <p:cNvSpPr/>
                  <p:nvPr/>
                </p:nvSpPr>
                <p:spPr bwMode="auto">
                  <a:xfrm>
                    <a:off x="9645183" y="11252376"/>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4" name="Picture 73" descr="Network services, Blue 60 pictogram">
                    <a:extLst>
                      <a:ext uri="{FF2B5EF4-FFF2-40B4-BE49-F238E27FC236}">
                        <a16:creationId xmlns:a16="http://schemas.microsoft.com/office/drawing/2014/main" id="{2DE9EC9D-C54F-957B-DA15-70821EB088CF}"/>
                      </a:ext>
                    </a:extLst>
                  </p:cNvPr>
                  <p:cNvPicPr>
                    <a:picLocks noChangeAspect="1"/>
                  </p:cNvPicPr>
                  <p:nvPr/>
                </p:nvPicPr>
                <p:blipFill>
                  <a:blip r:embed="rId14"/>
                  <a:srcRect/>
                  <a:stretch/>
                </p:blipFill>
                <p:spPr>
                  <a:xfrm>
                    <a:off x="9750889" y="11408140"/>
                    <a:ext cx="661246" cy="661246"/>
                  </a:xfrm>
                  <a:prstGeom prst="rect">
                    <a:avLst/>
                  </a:prstGeom>
                </p:spPr>
              </p:pic>
            </p:grpSp>
            <p:grpSp>
              <p:nvGrpSpPr>
                <p:cNvPr id="26" name="Group 25">
                  <a:extLst>
                    <a:ext uri="{FF2B5EF4-FFF2-40B4-BE49-F238E27FC236}">
                      <a16:creationId xmlns:a16="http://schemas.microsoft.com/office/drawing/2014/main" id="{B8A8839D-2019-5EB9-D088-70FF73495593}"/>
                    </a:ext>
                  </a:extLst>
                </p:cNvPr>
                <p:cNvGrpSpPr/>
                <p:nvPr/>
              </p:nvGrpSpPr>
              <p:grpSpPr>
                <a:xfrm>
                  <a:off x="8415813" y="5166108"/>
                  <a:ext cx="369340" cy="369747"/>
                  <a:chOff x="11094068" y="10002767"/>
                  <a:chExt cx="872658" cy="873620"/>
                </a:xfrm>
              </p:grpSpPr>
              <p:sp>
                <p:nvSpPr>
                  <p:cNvPr id="71" name="Rectangle 70">
                    <a:extLst>
                      <a:ext uri="{FF2B5EF4-FFF2-40B4-BE49-F238E27FC236}">
                        <a16:creationId xmlns:a16="http://schemas.microsoft.com/office/drawing/2014/main" id="{4BF13C37-8364-3152-7F2A-AB5A48239333}"/>
                      </a:ext>
                    </a:extLst>
                  </p:cNvPr>
                  <p:cNvSpPr/>
                  <p:nvPr/>
                </p:nvSpPr>
                <p:spPr bwMode="auto">
                  <a:xfrm>
                    <a:off x="11094068" y="10002767"/>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2" name="Picture 71" descr="IBM Automation Platform, Blue 60 pictogram">
                    <a:extLst>
                      <a:ext uri="{FF2B5EF4-FFF2-40B4-BE49-F238E27FC236}">
                        <a16:creationId xmlns:a16="http://schemas.microsoft.com/office/drawing/2014/main" id="{C7CB20CC-1C55-F90D-A01A-9ECE90797030}"/>
                      </a:ext>
                    </a:extLst>
                  </p:cNvPr>
                  <p:cNvPicPr>
                    <a:picLocks noChangeAspect="1"/>
                  </p:cNvPicPr>
                  <p:nvPr/>
                </p:nvPicPr>
                <p:blipFill>
                  <a:blip r:embed="rId15"/>
                  <a:srcRect/>
                  <a:stretch/>
                </p:blipFill>
                <p:spPr>
                  <a:xfrm>
                    <a:off x="11212276" y="10113431"/>
                    <a:ext cx="652292" cy="652292"/>
                  </a:xfrm>
                  <a:prstGeom prst="rect">
                    <a:avLst/>
                  </a:prstGeom>
                </p:spPr>
              </p:pic>
            </p:grpSp>
            <p:sp>
              <p:nvSpPr>
                <p:cNvPr id="27" name="TextBox 26">
                  <a:extLst>
                    <a:ext uri="{FF2B5EF4-FFF2-40B4-BE49-F238E27FC236}">
                      <a16:creationId xmlns:a16="http://schemas.microsoft.com/office/drawing/2014/main" id="{F4AF8D07-957D-8273-6F67-47D5EA79F7E1}"/>
                    </a:ext>
                  </a:extLst>
                </p:cNvPr>
                <p:cNvSpPr txBox="1"/>
                <p:nvPr/>
              </p:nvSpPr>
              <p:spPr>
                <a:xfrm>
                  <a:off x="2726188" y="4515498"/>
                  <a:ext cx="489954" cy="1075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a:ea typeface="+mn-ea"/>
                      <a:cs typeface="+mn-cs"/>
                      <a:sym typeface="IBM Plex Sans Light"/>
                    </a:rPr>
                    <a:t>End User</a:t>
                  </a:r>
                  <a:endParaRPr kumimoji="0" lang="en-US" sz="1000" b="0" i="0" u="none" strike="noStrike" kern="0" cap="none" spc="0" normalizeH="0" baseline="0" noProof="0">
                    <a:ln>
                      <a:noFill/>
                    </a:ln>
                    <a:solidFill>
                      <a:srgbClr val="000000"/>
                    </a:solidFill>
                    <a:effectLst/>
                    <a:uLnTx/>
                    <a:uFillTx/>
                    <a:latin typeface="IBM Plex Sans Light"/>
                    <a:ea typeface="+mn-ea"/>
                    <a:cs typeface="+mn-cs"/>
                  </a:endParaRPr>
                </a:p>
              </p:txBody>
            </p:sp>
            <p:sp>
              <p:nvSpPr>
                <p:cNvPr id="28" name="TextBox 27">
                  <a:extLst>
                    <a:ext uri="{FF2B5EF4-FFF2-40B4-BE49-F238E27FC236}">
                      <a16:creationId xmlns:a16="http://schemas.microsoft.com/office/drawing/2014/main" id="{DC189D4A-403D-B802-5BB0-84EFC0566BF8}"/>
                    </a:ext>
                  </a:extLst>
                </p:cNvPr>
                <p:cNvSpPr txBox="1"/>
                <p:nvPr/>
              </p:nvSpPr>
              <p:spPr>
                <a:xfrm>
                  <a:off x="8306167" y="4880819"/>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Actions and Dialog Flows</a:t>
                  </a:r>
                </a:p>
              </p:txBody>
            </p:sp>
            <p:sp>
              <p:nvSpPr>
                <p:cNvPr id="29" name="TextBox 28">
                  <a:extLst>
                    <a:ext uri="{FF2B5EF4-FFF2-40B4-BE49-F238E27FC236}">
                      <a16:creationId xmlns:a16="http://schemas.microsoft.com/office/drawing/2014/main" id="{2C06447F-A4E1-5416-703D-129BF4B8268B}"/>
                    </a:ext>
                  </a:extLst>
                </p:cNvPr>
                <p:cNvSpPr txBox="1"/>
                <p:nvPr/>
              </p:nvSpPr>
              <p:spPr>
                <a:xfrm>
                  <a:off x="9019623" y="4879093"/>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Knowledge (Documents)</a:t>
                  </a:r>
                </a:p>
              </p:txBody>
            </p:sp>
            <p:sp>
              <p:nvSpPr>
                <p:cNvPr id="30" name="TextBox 29">
                  <a:extLst>
                    <a:ext uri="{FF2B5EF4-FFF2-40B4-BE49-F238E27FC236}">
                      <a16:creationId xmlns:a16="http://schemas.microsoft.com/office/drawing/2014/main" id="{00333A75-49A1-4D71-3A15-6384B0B17624}"/>
                    </a:ext>
                  </a:extLst>
                </p:cNvPr>
                <p:cNvSpPr txBox="1"/>
                <p:nvPr/>
              </p:nvSpPr>
              <p:spPr>
                <a:xfrm>
                  <a:off x="9019623" y="4087689"/>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APIs &amp; Apps</a:t>
                  </a:r>
                </a:p>
              </p:txBody>
            </p:sp>
            <p:sp>
              <p:nvSpPr>
                <p:cNvPr id="31" name="TextBox 30">
                  <a:extLst>
                    <a:ext uri="{FF2B5EF4-FFF2-40B4-BE49-F238E27FC236}">
                      <a16:creationId xmlns:a16="http://schemas.microsoft.com/office/drawing/2014/main" id="{35E2CC65-4887-6CFD-4148-F42E8AAAE3BA}"/>
                    </a:ext>
                  </a:extLst>
                </p:cNvPr>
                <p:cNvSpPr txBox="1"/>
                <p:nvPr/>
              </p:nvSpPr>
              <p:spPr>
                <a:xfrm>
                  <a:off x="8300505" y="5600271"/>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Business Automation Flows</a:t>
                  </a:r>
                </a:p>
              </p:txBody>
            </p:sp>
            <p:sp>
              <p:nvSpPr>
                <p:cNvPr id="32" name="TextBox 31">
                  <a:extLst>
                    <a:ext uri="{FF2B5EF4-FFF2-40B4-BE49-F238E27FC236}">
                      <a16:creationId xmlns:a16="http://schemas.microsoft.com/office/drawing/2014/main" id="{471D46FC-B945-E107-7F52-BFDC23CBC7A3}"/>
                    </a:ext>
                  </a:extLst>
                </p:cNvPr>
                <p:cNvSpPr txBox="1"/>
                <p:nvPr/>
              </p:nvSpPr>
              <p:spPr>
                <a:xfrm>
                  <a:off x="5471509" y="2878666"/>
                  <a:ext cx="1978867" cy="354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a:ln>
                        <a:noFill/>
                      </a:ln>
                      <a:solidFill>
                        <a:srgbClr val="000000"/>
                      </a:solidFill>
                      <a:effectLst/>
                      <a:uLnTx/>
                      <a:uFillTx/>
                      <a:latin typeface="IBM Plex Sans Light"/>
                      <a:ea typeface="+mn-ea"/>
                      <a:cs typeface="+mn-cs"/>
                      <a:sym typeface="IBM Plex Sans Light"/>
                    </a:rPr>
                    <a:t>Multi-agent Orchestration</a:t>
                  </a:r>
                </a:p>
              </p:txBody>
            </p:sp>
            <p:sp>
              <p:nvSpPr>
                <p:cNvPr id="33" name="TextBox 32">
                  <a:extLst>
                    <a:ext uri="{FF2B5EF4-FFF2-40B4-BE49-F238E27FC236}">
                      <a16:creationId xmlns:a16="http://schemas.microsoft.com/office/drawing/2014/main" id="{45BBB0CA-D374-C68C-79DB-E6EBCBD018C3}"/>
                    </a:ext>
                  </a:extLst>
                </p:cNvPr>
                <p:cNvSpPr txBox="1"/>
                <p:nvPr/>
              </p:nvSpPr>
              <p:spPr>
                <a:xfrm>
                  <a:off x="8159131" y="2984628"/>
                  <a:ext cx="1552898"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a:ln>
                        <a:noFill/>
                      </a:ln>
                      <a:solidFill>
                        <a:srgbClr val="000000"/>
                      </a:solidFill>
                      <a:effectLst/>
                      <a:uLnTx/>
                      <a:uFillTx/>
                      <a:latin typeface="IBM Plex Sans Light"/>
                      <a:ea typeface="+mn-ea"/>
                      <a:cs typeface="+mn-cs"/>
                      <a:sym typeface="IBM Plex Sans Light"/>
                    </a:rPr>
                    <a:t>Collaborator Agents &amp; Tools</a:t>
                  </a:r>
                  <a:endParaRPr kumimoji="0" lang="en-US" sz="1800" b="0" i="0" u="none" strike="noStrike" kern="1200" cap="none" spc="0" normalizeH="0" baseline="0" noProof="0">
                    <a:ln>
                      <a:noFill/>
                    </a:ln>
                    <a:solidFill>
                      <a:srgbClr val="000000"/>
                    </a:solidFill>
                    <a:effectLst/>
                    <a:uLnTx/>
                    <a:uFillTx/>
                    <a:latin typeface="IBM Plex Sans Light"/>
                    <a:ea typeface="+mn-ea"/>
                    <a:cs typeface="+mn-cs"/>
                  </a:endParaRPr>
                </a:p>
              </p:txBody>
            </p:sp>
            <p:grpSp>
              <p:nvGrpSpPr>
                <p:cNvPr id="34" name="Group 33">
                  <a:extLst>
                    <a:ext uri="{FF2B5EF4-FFF2-40B4-BE49-F238E27FC236}">
                      <a16:creationId xmlns:a16="http://schemas.microsoft.com/office/drawing/2014/main" id="{C29A638B-A998-691B-CF79-D4D53D7CB1E2}"/>
                    </a:ext>
                  </a:extLst>
                </p:cNvPr>
                <p:cNvGrpSpPr/>
                <p:nvPr/>
              </p:nvGrpSpPr>
              <p:grpSpPr>
                <a:xfrm>
                  <a:off x="9138330" y="5166108"/>
                  <a:ext cx="369340" cy="369747"/>
                  <a:chOff x="9645183" y="11252376"/>
                  <a:chExt cx="872658" cy="873620"/>
                </a:xfrm>
              </p:grpSpPr>
              <p:sp>
                <p:nvSpPr>
                  <p:cNvPr id="69" name="Rectangle 68">
                    <a:extLst>
                      <a:ext uri="{FF2B5EF4-FFF2-40B4-BE49-F238E27FC236}">
                        <a16:creationId xmlns:a16="http://schemas.microsoft.com/office/drawing/2014/main" id="{8B52022D-E611-273F-991B-F2B648A93E1E}"/>
                      </a:ext>
                    </a:extLst>
                  </p:cNvPr>
                  <p:cNvSpPr/>
                  <p:nvPr/>
                </p:nvSpPr>
                <p:spPr bwMode="auto">
                  <a:xfrm>
                    <a:off x="9645183" y="11252376"/>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70" name="Picture 69" descr="Network services, Blue 60 pictogram">
                    <a:extLst>
                      <a:ext uri="{FF2B5EF4-FFF2-40B4-BE49-F238E27FC236}">
                        <a16:creationId xmlns:a16="http://schemas.microsoft.com/office/drawing/2014/main" id="{9B4D3673-9811-9BCE-D32A-2E4E94A9C231}"/>
                      </a:ext>
                    </a:extLst>
                  </p:cNvPr>
                  <p:cNvPicPr>
                    <a:picLocks noChangeAspect="1"/>
                  </p:cNvPicPr>
                  <p:nvPr/>
                </p:nvPicPr>
                <p:blipFill>
                  <a:blip r:embed="rId14"/>
                  <a:srcRect/>
                  <a:stretch/>
                </p:blipFill>
                <p:spPr>
                  <a:xfrm>
                    <a:off x="9750889" y="11408140"/>
                    <a:ext cx="661246" cy="661246"/>
                  </a:xfrm>
                  <a:prstGeom prst="rect">
                    <a:avLst/>
                  </a:prstGeom>
                </p:spPr>
              </p:pic>
            </p:grpSp>
            <p:sp>
              <p:nvSpPr>
                <p:cNvPr id="35" name="TextBox 34">
                  <a:extLst>
                    <a:ext uri="{FF2B5EF4-FFF2-40B4-BE49-F238E27FC236}">
                      <a16:creationId xmlns:a16="http://schemas.microsoft.com/office/drawing/2014/main" id="{B5A58171-24B8-CB18-B726-8F52178A046B}"/>
                    </a:ext>
                  </a:extLst>
                </p:cNvPr>
                <p:cNvSpPr txBox="1"/>
                <p:nvPr/>
              </p:nvSpPr>
              <p:spPr>
                <a:xfrm>
                  <a:off x="9019623" y="5597653"/>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lnSpcReduction="1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Pro-Code Tools</a:t>
                  </a:r>
                </a:p>
              </p:txBody>
            </p:sp>
            <p:sp>
              <p:nvSpPr>
                <p:cNvPr id="36" name="TextBox 35">
                  <a:extLst>
                    <a:ext uri="{FF2B5EF4-FFF2-40B4-BE49-F238E27FC236}">
                      <a16:creationId xmlns:a16="http://schemas.microsoft.com/office/drawing/2014/main" id="{29597A67-B0F3-CDB2-B27C-AD5EDFE66DC2}"/>
                    </a:ext>
                  </a:extLst>
                </p:cNvPr>
                <p:cNvSpPr txBox="1"/>
                <p:nvPr/>
              </p:nvSpPr>
              <p:spPr>
                <a:xfrm>
                  <a:off x="7641430" y="4363546"/>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marL="222144" marR="0" lvl="0" indent="-223285" algn="l" defTabSz="1218712" rtl="0" eaLnBrk="1" fontAlgn="auto" latinLnBrk="0" hangingPunct="1">
                    <a:lnSpc>
                      <a:spcPct val="100000"/>
                    </a:lnSpc>
                    <a:spcBef>
                      <a:spcPts val="1450"/>
                    </a:spcBef>
                    <a:spcAft>
                      <a:spcPts val="0"/>
                    </a:spcAft>
                    <a:buClrTx/>
                    <a:buSzPct val="100000"/>
                    <a:buFontTx/>
                    <a:buChar char="–"/>
                    <a:tabLst/>
                    <a:defRPr/>
                  </a:pPr>
                  <a:endParaRPr kumimoji="0" lang="en-US" sz="900" b="0"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grpSp>
              <p:nvGrpSpPr>
                <p:cNvPr id="38" name="Group 37">
                  <a:extLst>
                    <a:ext uri="{FF2B5EF4-FFF2-40B4-BE49-F238E27FC236}">
                      <a16:creationId xmlns:a16="http://schemas.microsoft.com/office/drawing/2014/main" id="{BB93C1FF-0B78-71D3-993A-6525B5530C56}"/>
                    </a:ext>
                  </a:extLst>
                </p:cNvPr>
                <p:cNvGrpSpPr/>
                <p:nvPr/>
              </p:nvGrpSpPr>
              <p:grpSpPr>
                <a:xfrm>
                  <a:off x="8409390" y="5867793"/>
                  <a:ext cx="369340" cy="369747"/>
                  <a:chOff x="9645183" y="11252376"/>
                  <a:chExt cx="872658" cy="873620"/>
                </a:xfrm>
              </p:grpSpPr>
              <p:sp>
                <p:nvSpPr>
                  <p:cNvPr id="67" name="Rectangle 66">
                    <a:extLst>
                      <a:ext uri="{FF2B5EF4-FFF2-40B4-BE49-F238E27FC236}">
                        <a16:creationId xmlns:a16="http://schemas.microsoft.com/office/drawing/2014/main" id="{4F0AAF7C-845C-5D45-F289-750D9EC8C51C}"/>
                      </a:ext>
                    </a:extLst>
                  </p:cNvPr>
                  <p:cNvSpPr/>
                  <p:nvPr/>
                </p:nvSpPr>
                <p:spPr bwMode="auto">
                  <a:xfrm>
                    <a:off x="9645183" y="11252376"/>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68" name="Picture 67" descr="Network services, Blue 60 pictogram">
                    <a:extLst>
                      <a:ext uri="{FF2B5EF4-FFF2-40B4-BE49-F238E27FC236}">
                        <a16:creationId xmlns:a16="http://schemas.microsoft.com/office/drawing/2014/main" id="{0AFB3AA0-3E47-909A-4E3F-A4928989DCC7}"/>
                      </a:ext>
                    </a:extLst>
                  </p:cNvPr>
                  <p:cNvPicPr>
                    <a:picLocks noChangeAspect="1"/>
                  </p:cNvPicPr>
                  <p:nvPr/>
                </p:nvPicPr>
                <p:blipFill>
                  <a:blip r:embed="rId14"/>
                  <a:srcRect/>
                  <a:stretch/>
                </p:blipFill>
                <p:spPr>
                  <a:xfrm>
                    <a:off x="9750889" y="11408140"/>
                    <a:ext cx="661246" cy="661246"/>
                  </a:xfrm>
                  <a:prstGeom prst="rect">
                    <a:avLst/>
                  </a:prstGeom>
                </p:spPr>
              </p:pic>
            </p:grpSp>
            <p:grpSp>
              <p:nvGrpSpPr>
                <p:cNvPr id="40" name="Group 39">
                  <a:extLst>
                    <a:ext uri="{FF2B5EF4-FFF2-40B4-BE49-F238E27FC236}">
                      <a16:creationId xmlns:a16="http://schemas.microsoft.com/office/drawing/2014/main" id="{0B2E2FF5-53C6-D822-70F8-684F0942B950}"/>
                    </a:ext>
                  </a:extLst>
                </p:cNvPr>
                <p:cNvGrpSpPr/>
                <p:nvPr/>
              </p:nvGrpSpPr>
              <p:grpSpPr>
                <a:xfrm>
                  <a:off x="9138330" y="5867793"/>
                  <a:ext cx="369340" cy="369747"/>
                  <a:chOff x="9645183" y="11252376"/>
                  <a:chExt cx="872658" cy="873620"/>
                </a:xfrm>
              </p:grpSpPr>
              <p:sp>
                <p:nvSpPr>
                  <p:cNvPr id="65" name="Rectangle 64">
                    <a:extLst>
                      <a:ext uri="{FF2B5EF4-FFF2-40B4-BE49-F238E27FC236}">
                        <a16:creationId xmlns:a16="http://schemas.microsoft.com/office/drawing/2014/main" id="{2815FF1C-B5DF-6E07-B40A-3F50A74A80F2}"/>
                      </a:ext>
                    </a:extLst>
                  </p:cNvPr>
                  <p:cNvSpPr/>
                  <p:nvPr/>
                </p:nvSpPr>
                <p:spPr bwMode="auto">
                  <a:xfrm>
                    <a:off x="9645183" y="11252376"/>
                    <a:ext cx="872658" cy="873620"/>
                  </a:xfrm>
                  <a:prstGeom prst="rect">
                    <a:avLst/>
                  </a:prstGeom>
                  <a:solidFill>
                    <a:srgbClr val="E5F6FF"/>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66" name="Picture 65" descr="Network services, Blue 60 pictogram">
                    <a:extLst>
                      <a:ext uri="{FF2B5EF4-FFF2-40B4-BE49-F238E27FC236}">
                        <a16:creationId xmlns:a16="http://schemas.microsoft.com/office/drawing/2014/main" id="{07AAAFB4-5ABF-8862-876B-D9DED556985D}"/>
                      </a:ext>
                    </a:extLst>
                  </p:cNvPr>
                  <p:cNvPicPr>
                    <a:picLocks noChangeAspect="1"/>
                  </p:cNvPicPr>
                  <p:nvPr/>
                </p:nvPicPr>
                <p:blipFill>
                  <a:blip r:embed="rId14"/>
                  <a:srcRect/>
                  <a:stretch/>
                </p:blipFill>
                <p:spPr>
                  <a:xfrm>
                    <a:off x="9750889" y="11408140"/>
                    <a:ext cx="661246" cy="661246"/>
                  </a:xfrm>
                  <a:prstGeom prst="rect">
                    <a:avLst/>
                  </a:prstGeom>
                </p:spPr>
              </p:pic>
            </p:grpSp>
            <p:sp>
              <p:nvSpPr>
                <p:cNvPr id="42" name="TextBox 41">
                  <a:extLst>
                    <a:ext uri="{FF2B5EF4-FFF2-40B4-BE49-F238E27FC236}">
                      <a16:creationId xmlns:a16="http://schemas.microsoft.com/office/drawing/2014/main" id="{DE7BE4AB-C403-7C22-8688-3E639F8A44FE}"/>
                    </a:ext>
                  </a:extLst>
                </p:cNvPr>
                <p:cNvSpPr txBox="1"/>
                <p:nvPr/>
              </p:nvSpPr>
              <p:spPr>
                <a:xfrm>
                  <a:off x="4062293" y="3168951"/>
                  <a:ext cx="1213562"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a:ln>
                        <a:noFill/>
                      </a:ln>
                      <a:solidFill>
                        <a:srgbClr val="000000"/>
                      </a:solidFill>
                      <a:effectLst/>
                      <a:uLnTx/>
                      <a:uFillTx/>
                      <a:latin typeface="IBM Plex Sans Light"/>
                      <a:ea typeface="+mn-ea"/>
                      <a:cs typeface="+mn-cs"/>
                      <a:sym typeface="IBM Plex Sans Light"/>
                    </a:rPr>
                    <a:t>Orchestrator Agent</a:t>
                  </a:r>
                </a:p>
              </p:txBody>
            </p:sp>
            <p:sp>
              <p:nvSpPr>
                <p:cNvPr id="43" name="TextBox 42">
                  <a:extLst>
                    <a:ext uri="{FF2B5EF4-FFF2-40B4-BE49-F238E27FC236}">
                      <a16:creationId xmlns:a16="http://schemas.microsoft.com/office/drawing/2014/main" id="{3C82121B-590A-6E68-D0DA-C32F0BC706FA}"/>
                    </a:ext>
                  </a:extLst>
                </p:cNvPr>
                <p:cNvSpPr txBox="1"/>
                <p:nvPr/>
              </p:nvSpPr>
              <p:spPr>
                <a:xfrm>
                  <a:off x="3128120" y="3161041"/>
                  <a:ext cx="877920" cy="1394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1" i="0" u="none" strike="noStrike" kern="0" cap="none" spc="0" normalizeH="0" baseline="0" noProof="0">
                      <a:ln>
                        <a:noFill/>
                      </a:ln>
                      <a:solidFill>
                        <a:srgbClr val="000000"/>
                      </a:solidFill>
                      <a:effectLst/>
                      <a:uLnTx/>
                      <a:uFillTx/>
                      <a:latin typeface="IBM Plex Sans Light"/>
                      <a:ea typeface="+mn-ea"/>
                      <a:cs typeface="+mn-cs"/>
                      <a:sym typeface="IBM Plex Sans Light"/>
                    </a:rPr>
                    <a:t>Client Layer</a:t>
                  </a:r>
                </a:p>
              </p:txBody>
            </p:sp>
            <p:cxnSp>
              <p:nvCxnSpPr>
                <p:cNvPr id="47" name="Straight Arrow Connector 46">
                  <a:extLst>
                    <a:ext uri="{FF2B5EF4-FFF2-40B4-BE49-F238E27FC236}">
                      <a16:creationId xmlns:a16="http://schemas.microsoft.com/office/drawing/2014/main" id="{BB33E369-D234-CE49-D7C5-766982B596DC}"/>
                    </a:ext>
                  </a:extLst>
                </p:cNvPr>
                <p:cNvCxnSpPr>
                  <a:cxnSpLocks/>
                </p:cNvCxnSpPr>
                <p:nvPr/>
              </p:nvCxnSpPr>
              <p:spPr bwMode="auto">
                <a:xfrm>
                  <a:off x="6721448" y="6050618"/>
                  <a:ext cx="1503769" cy="0"/>
                </a:xfrm>
                <a:prstGeom prst="straightConnector1">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sp>
              <p:nvSpPr>
                <p:cNvPr id="48" name="Rounded Rectangle 47">
                  <a:extLst>
                    <a:ext uri="{FF2B5EF4-FFF2-40B4-BE49-F238E27FC236}">
                      <a16:creationId xmlns:a16="http://schemas.microsoft.com/office/drawing/2014/main" id="{69CC9E2E-FF86-87B5-1412-A3448A264412}"/>
                    </a:ext>
                  </a:extLst>
                </p:cNvPr>
                <p:cNvSpPr/>
                <p:nvPr/>
              </p:nvSpPr>
              <p:spPr bwMode="auto">
                <a:xfrm>
                  <a:off x="4105222" y="3631173"/>
                  <a:ext cx="1133552" cy="1266939"/>
                </a:xfrm>
                <a:prstGeom prst="roundRect">
                  <a:avLst>
                    <a:gd name="adj" fmla="val 7665"/>
                  </a:avLst>
                </a:prstGeom>
                <a:noFill/>
                <a:ln w="1270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cxnSp>
              <p:nvCxnSpPr>
                <p:cNvPr id="50" name="Straight Arrow Connector 49">
                  <a:extLst>
                    <a:ext uri="{FF2B5EF4-FFF2-40B4-BE49-F238E27FC236}">
                      <a16:creationId xmlns:a16="http://schemas.microsoft.com/office/drawing/2014/main" id="{DC47358B-64BE-C372-4AA9-83BB167425A6}"/>
                    </a:ext>
                  </a:extLst>
                </p:cNvPr>
                <p:cNvCxnSpPr>
                  <a:cxnSpLocks/>
                </p:cNvCxnSpPr>
                <p:nvPr/>
              </p:nvCxnSpPr>
              <p:spPr bwMode="auto">
                <a:xfrm>
                  <a:off x="3152673" y="4279422"/>
                  <a:ext cx="245087" cy="0"/>
                </a:xfrm>
                <a:prstGeom prst="straightConnector1">
                  <a:avLst/>
                </a:prstGeom>
                <a:ln w="12700">
                  <a:solidFill>
                    <a:schemeClr val="tx1"/>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51" name="Rectangle 50">
                  <a:extLst>
                    <a:ext uri="{FF2B5EF4-FFF2-40B4-BE49-F238E27FC236}">
                      <a16:creationId xmlns:a16="http://schemas.microsoft.com/office/drawing/2014/main" id="{2D878CB9-2C8A-A50E-8532-73B1C9C94BB7}"/>
                    </a:ext>
                  </a:extLst>
                </p:cNvPr>
                <p:cNvSpPr/>
                <p:nvPr/>
              </p:nvSpPr>
              <p:spPr bwMode="auto">
                <a:xfrm rot="16200000">
                  <a:off x="6318311" y="4808949"/>
                  <a:ext cx="3098528" cy="445898"/>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ctr" anchorCtr="0" compatLnSpc="1">
                  <a:prstTxWarp prst="textNoShape">
                    <a:avLst/>
                  </a:prstTxWarp>
                </a:bodyPr>
                <a:lstStyle/>
                <a:p>
                  <a:pPr marL="0" marR="0" lvl="0" indent="0" algn="ctr" defTabSz="457018"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Tool Catalog </a:t>
                  </a:r>
                  <a:br>
                    <a:rPr kumimoji="0" lang="en-US" sz="105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br>
                  <a:r>
                    <a:rPr kumimoji="0" lang="en-US" sz="1000" b="0" i="0" u="none" strike="noStrike" kern="1200" cap="none" spc="0" normalizeH="0" baseline="0" noProof="0">
                      <a:ln>
                        <a:noFill/>
                      </a:ln>
                      <a:solidFill>
                        <a:srgbClr val="000000"/>
                      </a:solidFill>
                      <a:effectLst/>
                      <a:uLnTx/>
                      <a:uFillTx/>
                      <a:latin typeface="IBM Plex Sans Light"/>
                      <a:ea typeface="+mn-ea"/>
                      <a:cs typeface="+mn-cs"/>
                    </a:rPr>
                    <a:t>(Discovery and Binding)</a:t>
                  </a:r>
                  <a:endParaRPr kumimoji="0" lang="en-US" sz="1050" b="0" i="0" u="none" strike="noStrike" kern="1200" cap="none" spc="0" normalizeH="0" baseline="0" noProof="0">
                    <a:ln>
                      <a:noFill/>
                    </a:ln>
                    <a:solidFill>
                      <a:srgbClr val="000000"/>
                    </a:solidFill>
                    <a:effectLst/>
                    <a:uLnTx/>
                    <a:uFillTx/>
                    <a:latin typeface="IBM Plex Sans Light"/>
                    <a:ea typeface="+mn-ea"/>
                    <a:cs typeface="+mn-cs"/>
                  </a:endParaRPr>
                </a:p>
              </p:txBody>
            </p:sp>
            <p:cxnSp>
              <p:nvCxnSpPr>
                <p:cNvPr id="56" name="Elbow Connector 55">
                  <a:extLst>
                    <a:ext uri="{FF2B5EF4-FFF2-40B4-BE49-F238E27FC236}">
                      <a16:creationId xmlns:a16="http://schemas.microsoft.com/office/drawing/2014/main" id="{EDF0F427-C7A2-6B5A-460D-3E21B0F0C6FC}"/>
                    </a:ext>
                  </a:extLst>
                </p:cNvPr>
                <p:cNvCxnSpPr>
                  <a:cxnSpLocks/>
                  <a:stCxn id="87" idx="3"/>
                </p:cNvCxnSpPr>
                <p:nvPr/>
              </p:nvCxnSpPr>
              <p:spPr bwMode="auto">
                <a:xfrm>
                  <a:off x="5053900" y="4287182"/>
                  <a:ext cx="1209162" cy="761686"/>
                </a:xfrm>
                <a:prstGeom prst="bentConnector3">
                  <a:avLst>
                    <a:gd name="adj1" fmla="val 50000"/>
                  </a:avLst>
                </a:prstGeom>
                <a:ln w="12700">
                  <a:solidFill>
                    <a:schemeClr val="tx1"/>
                  </a:solidFill>
                  <a:headEnd type="none" w="med" len="med"/>
                  <a:tailEnd type="triangle" w="lg" len="med"/>
                </a:ln>
                <a:effectLst/>
              </p:spPr>
              <p:style>
                <a:lnRef idx="1">
                  <a:schemeClr val="dk1"/>
                </a:lnRef>
                <a:fillRef idx="0">
                  <a:schemeClr val="dk1"/>
                </a:fillRef>
                <a:effectRef idx="0">
                  <a:schemeClr val="dk1"/>
                </a:effectRef>
                <a:fontRef idx="minor">
                  <a:schemeClr val="tx1"/>
                </a:fontRef>
              </p:style>
            </p:cxnSp>
            <p:sp>
              <p:nvSpPr>
                <p:cNvPr id="57" name="Rectangle 56">
                  <a:extLst>
                    <a:ext uri="{FF2B5EF4-FFF2-40B4-BE49-F238E27FC236}">
                      <a16:creationId xmlns:a16="http://schemas.microsoft.com/office/drawing/2014/main" id="{2DD3B52A-79EB-AF43-3F73-F9125C486A79}"/>
                    </a:ext>
                  </a:extLst>
                </p:cNvPr>
                <p:cNvSpPr/>
                <p:nvPr/>
              </p:nvSpPr>
              <p:spPr bwMode="auto">
                <a:xfrm>
                  <a:off x="8420392" y="3673201"/>
                  <a:ext cx="369340" cy="378975"/>
                </a:xfrm>
                <a:prstGeom prst="rect">
                  <a:avLst/>
                </a:prstGeom>
                <a:solidFill>
                  <a:srgbClr val="E0E0E0"/>
                </a:solidFill>
                <a:ln w="1905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cxnSp>
              <p:nvCxnSpPr>
                <p:cNvPr id="58" name="Straight Connector 57">
                  <a:extLst>
                    <a:ext uri="{FF2B5EF4-FFF2-40B4-BE49-F238E27FC236}">
                      <a16:creationId xmlns:a16="http://schemas.microsoft.com/office/drawing/2014/main" id="{2F6F3266-BEF4-50EE-7E73-C100D06AB432}"/>
                    </a:ext>
                  </a:extLst>
                </p:cNvPr>
                <p:cNvCxnSpPr>
                  <a:cxnSpLocks/>
                </p:cNvCxnSpPr>
                <p:nvPr/>
              </p:nvCxnSpPr>
              <p:spPr bwMode="auto">
                <a:xfrm flipH="1" flipV="1">
                  <a:off x="7441305" y="2827212"/>
                  <a:ext cx="968085" cy="833302"/>
                </a:xfrm>
                <a:prstGeom prst="line">
                  <a:avLst/>
                </a:prstGeom>
                <a:ln w="12700">
                  <a:solidFill>
                    <a:schemeClr val="accent1"/>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45B9EB6-05DA-7012-67EC-C159D1CA42FF}"/>
                    </a:ext>
                  </a:extLst>
                </p:cNvPr>
                <p:cNvCxnSpPr>
                  <a:cxnSpLocks/>
                </p:cNvCxnSpPr>
                <p:nvPr/>
              </p:nvCxnSpPr>
              <p:spPr bwMode="auto">
                <a:xfrm flipH="1">
                  <a:off x="7449930" y="4069743"/>
                  <a:ext cx="965827" cy="2685179"/>
                </a:xfrm>
                <a:prstGeom prst="line">
                  <a:avLst/>
                </a:prstGeom>
                <a:ln w="12700">
                  <a:solidFill>
                    <a:schemeClr val="accent1"/>
                  </a:solidFill>
                  <a:prstDash val="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Box 59">
                  <a:extLst>
                    <a:ext uri="{FF2B5EF4-FFF2-40B4-BE49-F238E27FC236}">
                      <a16:creationId xmlns:a16="http://schemas.microsoft.com/office/drawing/2014/main" id="{8A847BFE-E80A-72C7-E215-6D5CA2647561}"/>
                    </a:ext>
                  </a:extLst>
                </p:cNvPr>
                <p:cNvSpPr txBox="1"/>
                <p:nvPr/>
              </p:nvSpPr>
              <p:spPr>
                <a:xfrm>
                  <a:off x="8284731" y="4086765"/>
                  <a:ext cx="606752" cy="21371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orm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Agents</a:t>
                  </a:r>
                </a:p>
              </p:txBody>
            </p:sp>
            <p:pic>
              <p:nvPicPr>
                <p:cNvPr id="96" name="Picture 95">
                  <a:extLst>
                    <a:ext uri="{FF2B5EF4-FFF2-40B4-BE49-F238E27FC236}">
                      <a16:creationId xmlns:a16="http://schemas.microsoft.com/office/drawing/2014/main" id="{B99A46AB-A446-138D-EFB4-86FB684EC643}"/>
                    </a:ext>
                  </a:extLst>
                </p:cNvPr>
                <p:cNvPicPr>
                  <a:picLocks noChangeAspect="1"/>
                </p:cNvPicPr>
                <p:nvPr/>
              </p:nvPicPr>
              <p:blipFill>
                <a:blip r:embed="rId16"/>
                <a:stretch>
                  <a:fillRect/>
                </a:stretch>
              </p:blipFill>
              <p:spPr>
                <a:xfrm>
                  <a:off x="9770081" y="4370495"/>
                  <a:ext cx="670367" cy="319515"/>
                </a:xfrm>
                <a:prstGeom prst="rect">
                  <a:avLst/>
                </a:prstGeom>
              </p:spPr>
            </p:pic>
            <p:sp>
              <p:nvSpPr>
                <p:cNvPr id="103" name="Rounded Rectangle 102">
                  <a:extLst>
                    <a:ext uri="{FF2B5EF4-FFF2-40B4-BE49-F238E27FC236}">
                      <a16:creationId xmlns:a16="http://schemas.microsoft.com/office/drawing/2014/main" id="{06773857-46D0-840F-A006-DA978B5F7CD2}"/>
                    </a:ext>
                  </a:extLst>
                </p:cNvPr>
                <p:cNvSpPr/>
                <p:nvPr/>
              </p:nvSpPr>
              <p:spPr bwMode="auto">
                <a:xfrm>
                  <a:off x="5482728" y="3429415"/>
                  <a:ext cx="1911138" cy="1070347"/>
                </a:xfrm>
                <a:prstGeom prst="roundRect">
                  <a:avLst>
                    <a:gd name="adj" fmla="val 7665"/>
                  </a:avLst>
                </a:prstGeom>
                <a:noFill/>
                <a:ln w="1270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04" name="TextBox 103">
                  <a:extLst>
                    <a:ext uri="{FF2B5EF4-FFF2-40B4-BE49-F238E27FC236}">
                      <a16:creationId xmlns:a16="http://schemas.microsoft.com/office/drawing/2014/main" id="{5ECC7D65-2861-935F-21D6-CF36046AEF95}"/>
                    </a:ext>
                  </a:extLst>
                </p:cNvPr>
                <p:cNvSpPr txBox="1"/>
                <p:nvPr/>
              </p:nvSpPr>
              <p:spPr>
                <a:xfrm>
                  <a:off x="5901942" y="3513973"/>
                  <a:ext cx="1143951" cy="1593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900" b="1" i="0" u="none" strike="noStrike" kern="0" cap="none" spc="0" normalizeH="0" baseline="0" noProof="0">
                      <a:ln>
                        <a:noFill/>
                      </a:ln>
                      <a:solidFill>
                        <a:srgbClr val="000000"/>
                      </a:solidFill>
                      <a:effectLst/>
                      <a:uLnTx/>
                      <a:uFillTx/>
                      <a:latin typeface="IBM Plex Sans Light"/>
                      <a:ea typeface="+mn-ea"/>
                      <a:cs typeface="+mn-cs"/>
                    </a:rPr>
                    <a:t>Domain Agent</a:t>
                  </a:r>
                  <a:endParaRPr kumimoji="0" lang="en-US" sz="900" b="1"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105" name="Rounded Rectangle 104">
                  <a:extLst>
                    <a:ext uri="{FF2B5EF4-FFF2-40B4-BE49-F238E27FC236}">
                      <a16:creationId xmlns:a16="http://schemas.microsoft.com/office/drawing/2014/main" id="{9A7B3698-A808-E3DE-3F53-BAEB7F696EC7}"/>
                    </a:ext>
                  </a:extLst>
                </p:cNvPr>
                <p:cNvSpPr/>
                <p:nvPr/>
              </p:nvSpPr>
              <p:spPr bwMode="auto">
                <a:xfrm>
                  <a:off x="5492816" y="4567311"/>
                  <a:ext cx="1911140" cy="970559"/>
                </a:xfrm>
                <a:prstGeom prst="roundRect">
                  <a:avLst>
                    <a:gd name="adj" fmla="val 7665"/>
                  </a:avLst>
                </a:prstGeom>
                <a:noFill/>
                <a:ln w="1270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106" name="Rounded Rectangle 105">
                  <a:extLst>
                    <a:ext uri="{FF2B5EF4-FFF2-40B4-BE49-F238E27FC236}">
                      <a16:creationId xmlns:a16="http://schemas.microsoft.com/office/drawing/2014/main" id="{E669AEB8-E07C-3198-9D12-B68086C6C5FB}"/>
                    </a:ext>
                  </a:extLst>
                </p:cNvPr>
                <p:cNvSpPr/>
                <p:nvPr/>
              </p:nvSpPr>
              <p:spPr bwMode="auto">
                <a:xfrm>
                  <a:off x="5495223" y="5597738"/>
                  <a:ext cx="1883925" cy="961489"/>
                </a:xfrm>
                <a:prstGeom prst="roundRect">
                  <a:avLst>
                    <a:gd name="adj" fmla="val 7665"/>
                  </a:avLst>
                </a:prstGeom>
                <a:noFill/>
                <a:ln w="12700">
                  <a:solidFill>
                    <a:schemeClr val="accent1"/>
                  </a:solidFill>
                  <a:prstDash val="sys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1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109" name="Picture 4" descr="ServiceNow Logo and symbol, meaning, history, PNG">
                  <a:extLst>
                    <a:ext uri="{FF2B5EF4-FFF2-40B4-BE49-F238E27FC236}">
                      <a16:creationId xmlns:a16="http://schemas.microsoft.com/office/drawing/2014/main" id="{76D424D3-9514-B12F-538E-6899F47238E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776578" y="5065770"/>
                  <a:ext cx="667260" cy="419709"/>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18">
                  <a:extLst>
                    <a:ext uri="{FF2B5EF4-FFF2-40B4-BE49-F238E27FC236}">
                      <a16:creationId xmlns:a16="http://schemas.microsoft.com/office/drawing/2014/main" id="{EB224DB4-15E4-AD19-A371-AC54CE3F0217}"/>
                    </a:ext>
                  </a:extLst>
                </p:cNvPr>
                <p:cNvPicPr>
                  <a:picLocks noChangeAspect="1"/>
                </p:cNvPicPr>
                <p:nvPr/>
              </p:nvPicPr>
              <p:blipFill>
                <a:blip r:embed="rId18"/>
                <a:stretch>
                  <a:fillRect/>
                </a:stretch>
              </p:blipFill>
              <p:spPr>
                <a:xfrm>
                  <a:off x="9770258" y="4805933"/>
                  <a:ext cx="633726" cy="243741"/>
                </a:xfrm>
                <a:prstGeom prst="rect">
                  <a:avLst/>
                </a:prstGeom>
              </p:spPr>
            </p:pic>
            <p:pic>
              <p:nvPicPr>
                <p:cNvPr id="121" name="Picture 6">
                  <a:extLst>
                    <a:ext uri="{FF2B5EF4-FFF2-40B4-BE49-F238E27FC236}">
                      <a16:creationId xmlns:a16="http://schemas.microsoft.com/office/drawing/2014/main" id="{6D8F261F-5031-BDA3-3630-9A5A6905E9F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770331" y="3651556"/>
                  <a:ext cx="455722" cy="319005"/>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oup 123">
                  <a:extLst>
                    <a:ext uri="{FF2B5EF4-FFF2-40B4-BE49-F238E27FC236}">
                      <a16:creationId xmlns:a16="http://schemas.microsoft.com/office/drawing/2014/main" id="{136E8422-59F7-D6DF-EF6B-81C154BC4ABA}"/>
                    </a:ext>
                  </a:extLst>
                </p:cNvPr>
                <p:cNvGrpSpPr/>
                <p:nvPr/>
              </p:nvGrpSpPr>
              <p:grpSpPr>
                <a:xfrm>
                  <a:off x="9774488" y="4041701"/>
                  <a:ext cx="902532" cy="216387"/>
                  <a:chOff x="10268188" y="2234516"/>
                  <a:chExt cx="1092065" cy="261828"/>
                </a:xfrm>
              </p:grpSpPr>
              <p:pic>
                <p:nvPicPr>
                  <p:cNvPr id="122" name="Picture 10">
                    <a:extLst>
                      <a:ext uri="{FF2B5EF4-FFF2-40B4-BE49-F238E27FC236}">
                        <a16:creationId xmlns:a16="http://schemas.microsoft.com/office/drawing/2014/main" id="{377AC240-2CEF-96AE-836F-B99B6132CC8D}"/>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68188" y="2234516"/>
                    <a:ext cx="498661" cy="246604"/>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a:extLst>
                      <a:ext uri="{FF2B5EF4-FFF2-40B4-BE49-F238E27FC236}">
                        <a16:creationId xmlns:a16="http://schemas.microsoft.com/office/drawing/2014/main" id="{D422E5B2-0BDE-45E6-B45F-6705F7814521}"/>
                      </a:ext>
                    </a:extLst>
                  </p:cNvPr>
                  <p:cNvSpPr txBox="1"/>
                  <p:nvPr/>
                </p:nvSpPr>
                <p:spPr>
                  <a:xfrm>
                    <a:off x="10482333" y="2272898"/>
                    <a:ext cx="877920" cy="2234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1200" b="0" i="0" u="none" strike="noStrike" kern="0" cap="none" spc="0" normalizeH="0" baseline="0" noProof="0">
                        <a:ln>
                          <a:noFill/>
                        </a:ln>
                        <a:solidFill>
                          <a:srgbClr val="000000"/>
                        </a:solidFill>
                        <a:effectLst/>
                        <a:uLnTx/>
                        <a:uFillTx/>
                        <a:latin typeface="IBM Plex Sans Light"/>
                        <a:ea typeface="+mn-ea"/>
                        <a:cs typeface="+mn-cs"/>
                        <a:sym typeface="IBM Plex Sans Light"/>
                      </a:rPr>
                      <a:t>Ariba</a:t>
                    </a:r>
                  </a:p>
                </p:txBody>
              </p:sp>
            </p:grpSp>
            <p:grpSp>
              <p:nvGrpSpPr>
                <p:cNvPr id="4" name="Group 3">
                  <a:extLst>
                    <a:ext uri="{FF2B5EF4-FFF2-40B4-BE49-F238E27FC236}">
                      <a16:creationId xmlns:a16="http://schemas.microsoft.com/office/drawing/2014/main" id="{3839CE38-489B-E21F-32E1-6BB71CB4A7C0}"/>
                    </a:ext>
                  </a:extLst>
                </p:cNvPr>
                <p:cNvGrpSpPr/>
                <p:nvPr/>
              </p:nvGrpSpPr>
              <p:grpSpPr>
                <a:xfrm>
                  <a:off x="6263053" y="3752376"/>
                  <a:ext cx="441200" cy="441768"/>
                  <a:chOff x="13881973" y="7040112"/>
                  <a:chExt cx="1042445" cy="1043785"/>
                </a:xfrm>
              </p:grpSpPr>
              <p:sp>
                <p:nvSpPr>
                  <p:cNvPr id="7" name="Rounded Rectangle 80">
                    <a:extLst>
                      <a:ext uri="{FF2B5EF4-FFF2-40B4-BE49-F238E27FC236}">
                        <a16:creationId xmlns:a16="http://schemas.microsoft.com/office/drawing/2014/main" id="{D7F0375C-2745-466F-8D62-707D429CCDCA}"/>
                      </a:ext>
                    </a:extLst>
                  </p:cNvPr>
                  <p:cNvSpPr>
                    <a:spLocks noChangeAspect="1"/>
                  </p:cNvSpPr>
                  <p:nvPr/>
                </p:nvSpPr>
                <p:spPr bwMode="auto">
                  <a:xfrm>
                    <a:off x="13881973" y="7040112"/>
                    <a:ext cx="1042445" cy="1043785"/>
                  </a:xfrm>
                  <a:prstGeom prst="roundRect">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marL="0" marR="0" lvl="0" indent="0" algn="l" defTabSz="228465"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8" name="Picture Placeholder 24" descr="DevOps, Blue 60 pictogram">
                    <a:extLst>
                      <a:ext uri="{FF2B5EF4-FFF2-40B4-BE49-F238E27FC236}">
                        <a16:creationId xmlns:a16="http://schemas.microsoft.com/office/drawing/2014/main" id="{D2BC3537-4503-31DA-7297-41815B32D12B}"/>
                      </a:ext>
                    </a:extLst>
                  </p:cNvPr>
                  <p:cNvPicPr>
                    <a:picLocks noChangeAspect="1"/>
                  </p:cNvPicPr>
                  <p:nvPr/>
                </p:nvPicPr>
                <p:blipFill>
                  <a:blip r:embed="rId7">
                    <a:extLst>
                      <a:ext uri="{96DAC541-7B7A-43D3-8B79-37D633B846F1}">
                        <asvg:svgBlip xmlns:asvg="http://schemas.microsoft.com/office/drawing/2016/SVG/main" r:embed="rId8"/>
                      </a:ext>
                    </a:extLst>
                  </a:blip>
                  <a:srcRect t="87" b="87"/>
                  <a:stretch>
                    <a:fillRect/>
                  </a:stretch>
                </p:blipFill>
                <p:spPr>
                  <a:xfrm>
                    <a:off x="14007632" y="7173925"/>
                    <a:ext cx="805276" cy="805276"/>
                  </a:xfrm>
                  <a:prstGeom prst="rect">
                    <a:avLst/>
                  </a:prstGeom>
                </p:spPr>
              </p:pic>
            </p:grpSp>
            <p:grpSp>
              <p:nvGrpSpPr>
                <p:cNvPr id="12" name="Group 11">
                  <a:extLst>
                    <a:ext uri="{FF2B5EF4-FFF2-40B4-BE49-F238E27FC236}">
                      <a16:creationId xmlns:a16="http://schemas.microsoft.com/office/drawing/2014/main" id="{730A482E-68DE-00FF-2D81-05372F84C1E8}"/>
                    </a:ext>
                  </a:extLst>
                </p:cNvPr>
                <p:cNvGrpSpPr/>
                <p:nvPr/>
              </p:nvGrpSpPr>
              <p:grpSpPr>
                <a:xfrm>
                  <a:off x="6272125" y="4813734"/>
                  <a:ext cx="441200" cy="441768"/>
                  <a:chOff x="13881973" y="7040112"/>
                  <a:chExt cx="1042445" cy="1043785"/>
                </a:xfrm>
              </p:grpSpPr>
              <p:sp>
                <p:nvSpPr>
                  <p:cNvPr id="14" name="Rounded Rectangle 80">
                    <a:extLst>
                      <a:ext uri="{FF2B5EF4-FFF2-40B4-BE49-F238E27FC236}">
                        <a16:creationId xmlns:a16="http://schemas.microsoft.com/office/drawing/2014/main" id="{70FF3F85-791A-80D4-F059-C29505DDEA62}"/>
                      </a:ext>
                    </a:extLst>
                  </p:cNvPr>
                  <p:cNvSpPr>
                    <a:spLocks noChangeAspect="1"/>
                  </p:cNvSpPr>
                  <p:nvPr/>
                </p:nvSpPr>
                <p:spPr bwMode="auto">
                  <a:xfrm>
                    <a:off x="13881973" y="7040112"/>
                    <a:ext cx="1042445" cy="1043785"/>
                  </a:xfrm>
                  <a:prstGeom prst="roundRect">
                    <a:avLst/>
                  </a:prstGeom>
                  <a:no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22849" tIns="22849" rIns="22849" bIns="22849" numCol="1" rtlCol="0" anchor="t" anchorCtr="0" compatLnSpc="1">
                    <a:prstTxWarp prst="textNoShape">
                      <a:avLst/>
                    </a:prstTxWarp>
                  </a:bodyPr>
                  <a:lstStyle/>
                  <a:p>
                    <a:pPr marL="0" marR="0" lvl="0" indent="0" algn="l" defTabSz="228465" rtl="0" eaLnBrk="1" fontAlgn="base" latinLnBrk="0" hangingPunct="1">
                      <a:lnSpc>
                        <a:spcPct val="100000"/>
                      </a:lnSpc>
                      <a:spcBef>
                        <a:spcPct val="0"/>
                      </a:spcBef>
                      <a:spcAft>
                        <a:spcPct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IBM Plex Sans Light"/>
                      <a:ea typeface="Helvetica Neue"/>
                      <a:cs typeface="Helvetica Neue"/>
                    </a:endParaRPr>
                  </a:p>
                </p:txBody>
              </p:sp>
              <p:pic>
                <p:nvPicPr>
                  <p:cNvPr id="19" name="Picture Placeholder 24" descr="DevOps, Blue 60 pictogram">
                    <a:extLst>
                      <a:ext uri="{FF2B5EF4-FFF2-40B4-BE49-F238E27FC236}">
                        <a16:creationId xmlns:a16="http://schemas.microsoft.com/office/drawing/2014/main" id="{1FD004E6-5B31-6683-2FC4-D05AD59A6D21}"/>
                      </a:ext>
                    </a:extLst>
                  </p:cNvPr>
                  <p:cNvPicPr>
                    <a:picLocks noChangeAspect="1"/>
                  </p:cNvPicPr>
                  <p:nvPr/>
                </p:nvPicPr>
                <p:blipFill>
                  <a:blip r:embed="rId7">
                    <a:extLst>
                      <a:ext uri="{96DAC541-7B7A-43D3-8B79-37D633B846F1}">
                        <asvg:svgBlip xmlns:asvg="http://schemas.microsoft.com/office/drawing/2016/SVG/main" r:embed="rId8"/>
                      </a:ext>
                    </a:extLst>
                  </a:blip>
                  <a:srcRect t="87" b="87"/>
                  <a:stretch>
                    <a:fillRect/>
                  </a:stretch>
                </p:blipFill>
                <p:spPr>
                  <a:xfrm>
                    <a:off x="14007632" y="7173925"/>
                    <a:ext cx="805276" cy="805276"/>
                  </a:xfrm>
                  <a:prstGeom prst="rect">
                    <a:avLst/>
                  </a:prstGeom>
                </p:spPr>
              </p:pic>
            </p:grpSp>
            <p:sp>
              <p:nvSpPr>
                <p:cNvPr id="37" name="TextBox 36">
                  <a:extLst>
                    <a:ext uri="{FF2B5EF4-FFF2-40B4-BE49-F238E27FC236}">
                      <a16:creationId xmlns:a16="http://schemas.microsoft.com/office/drawing/2014/main" id="{BBCD883C-7FDF-3D6F-A9BF-3982FBE37D43}"/>
                    </a:ext>
                  </a:extLst>
                </p:cNvPr>
                <p:cNvSpPr txBox="1"/>
                <p:nvPr/>
              </p:nvSpPr>
              <p:spPr>
                <a:xfrm>
                  <a:off x="5938227" y="4620686"/>
                  <a:ext cx="1143951" cy="1593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900" b="1" i="0" u="none" strike="noStrike" kern="0" cap="none" spc="0" normalizeH="0" baseline="0" noProof="0">
                      <a:ln>
                        <a:noFill/>
                      </a:ln>
                      <a:solidFill>
                        <a:srgbClr val="000000"/>
                      </a:solidFill>
                      <a:effectLst/>
                      <a:uLnTx/>
                      <a:uFillTx/>
                      <a:latin typeface="IBM Plex Sans Light"/>
                      <a:ea typeface="+mn-ea"/>
                      <a:cs typeface="+mn-cs"/>
                    </a:rPr>
                    <a:t>Agent 1</a:t>
                  </a:r>
                  <a:endParaRPr kumimoji="0" lang="en-US" sz="900" b="1"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46" name="Text Placeholder 3">
                  <a:extLst>
                    <a:ext uri="{FF2B5EF4-FFF2-40B4-BE49-F238E27FC236}">
                      <a16:creationId xmlns:a16="http://schemas.microsoft.com/office/drawing/2014/main" id="{E30700C5-13F2-A5CC-B5F1-C1448EBF62FF}"/>
                    </a:ext>
                  </a:extLst>
                </p:cNvPr>
                <p:cNvSpPr txBox="1">
                  <a:spLocks/>
                </p:cNvSpPr>
                <p:nvPr/>
              </p:nvSpPr>
              <p:spPr>
                <a:xfrm>
                  <a:off x="5627470" y="5321329"/>
                  <a:ext cx="1734932" cy="180248"/>
                </a:xfrm>
                <a:prstGeom prst="rect">
                  <a:avLst/>
                </a:prstGeom>
              </p:spPr>
              <p:txBody>
                <a:bodyPr vert="horz" lIns="0" tIns="0" rIns="0" bIns="0" rtlCol="0" anchor="t">
                  <a:normAutofit/>
                </a:bodyPr>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4570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a:ea typeface="Helvetica Neue"/>
                      <a:cs typeface="Helvetica Neue"/>
                    </a:rPr>
                    <a:t>wxO Agent Builder &amp; SDK </a:t>
                  </a:r>
                  <a:endParaRPr kumimoji="0" lang="en-US" sz="1000" b="0" i="0" u="none" strike="noStrike" kern="1200" cap="none" spc="0" normalizeH="0" baseline="0" noProof="0">
                    <a:ln>
                      <a:noFill/>
                    </a:ln>
                    <a:solidFill>
                      <a:srgbClr val="000000"/>
                    </a:solidFill>
                    <a:effectLst/>
                    <a:uLnTx/>
                    <a:uFillTx/>
                    <a:latin typeface="IBM Plex Sans" panose="020B0503050203000203" pitchFamily="34" charset="0"/>
                    <a:ea typeface="Helvetica Neue"/>
                    <a:cs typeface="Helvetica Neue"/>
                  </a:endParaRPr>
                </a:p>
              </p:txBody>
            </p:sp>
            <p:sp>
              <p:nvSpPr>
                <p:cNvPr id="49" name="TextBox 48">
                  <a:extLst>
                    <a:ext uri="{FF2B5EF4-FFF2-40B4-BE49-F238E27FC236}">
                      <a16:creationId xmlns:a16="http://schemas.microsoft.com/office/drawing/2014/main" id="{2F1C2134-B642-AF69-190B-DFDD8D54C7F5}"/>
                    </a:ext>
                  </a:extLst>
                </p:cNvPr>
                <p:cNvSpPr txBox="1"/>
                <p:nvPr/>
              </p:nvSpPr>
              <p:spPr>
                <a:xfrm>
                  <a:off x="5920083" y="5672971"/>
                  <a:ext cx="1143951" cy="1593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noAutofit/>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900" b="1" i="0" u="none" strike="noStrike" kern="0" cap="none" spc="0" normalizeH="0" baseline="0" noProof="0">
                      <a:ln>
                        <a:noFill/>
                      </a:ln>
                      <a:solidFill>
                        <a:srgbClr val="000000"/>
                      </a:solidFill>
                      <a:effectLst/>
                      <a:uLnTx/>
                      <a:uFillTx/>
                      <a:latin typeface="IBM Plex Sans Light"/>
                      <a:ea typeface="+mn-ea"/>
                      <a:cs typeface="+mn-cs"/>
                    </a:rPr>
                    <a:t>BYOA</a:t>
                  </a:r>
                  <a:endParaRPr kumimoji="0" lang="en-US" sz="900" b="1" i="0" u="none" strike="noStrike" kern="0" cap="none" spc="0" normalizeH="0" baseline="0" noProof="0">
                    <a:ln>
                      <a:noFill/>
                    </a:ln>
                    <a:solidFill>
                      <a:srgbClr val="000000"/>
                    </a:solidFill>
                    <a:effectLst/>
                    <a:uLnTx/>
                    <a:uFillTx/>
                    <a:latin typeface="IBM Plex Sans Light"/>
                    <a:ea typeface="+mn-ea"/>
                    <a:cs typeface="+mn-cs"/>
                    <a:sym typeface="IBM Plex Sans Light"/>
                  </a:endParaRPr>
                </a:p>
              </p:txBody>
            </p:sp>
            <p:sp>
              <p:nvSpPr>
                <p:cNvPr id="52" name="Text Placeholder 3">
                  <a:extLst>
                    <a:ext uri="{FF2B5EF4-FFF2-40B4-BE49-F238E27FC236}">
                      <a16:creationId xmlns:a16="http://schemas.microsoft.com/office/drawing/2014/main" id="{64BAE691-5851-F513-0A3F-DF55AA67B3A2}"/>
                    </a:ext>
                  </a:extLst>
                </p:cNvPr>
                <p:cNvSpPr txBox="1">
                  <a:spLocks/>
                </p:cNvSpPr>
                <p:nvPr/>
              </p:nvSpPr>
              <p:spPr>
                <a:xfrm>
                  <a:off x="5654684" y="6319185"/>
                  <a:ext cx="1734932" cy="180248"/>
                </a:xfrm>
                <a:prstGeom prst="rect">
                  <a:avLst/>
                </a:prstGeom>
              </p:spPr>
              <p:txBody>
                <a:bodyPr vert="horz" lIns="0" tIns="0" rIns="0" bIns="0" rtlCol="0" anchor="t">
                  <a:normAutofit/>
                </a:bodyPr>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ctr" defTabSz="457077" rtl="0" eaLnBrk="1" fontAlgn="auto" latinLnBrk="0" hangingPunct="1">
                    <a:lnSpc>
                      <a:spcPct val="11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a:ea typeface="Helvetica Neue"/>
                      <a:cs typeface="Helvetica Neue"/>
                    </a:rPr>
                    <a:t>3rd-Party Agents </a:t>
                  </a:r>
                </a:p>
              </p:txBody>
            </p:sp>
            <p:sp>
              <p:nvSpPr>
                <p:cNvPr id="55" name="TextBox 54">
                  <a:extLst>
                    <a:ext uri="{FF2B5EF4-FFF2-40B4-BE49-F238E27FC236}">
                      <a16:creationId xmlns:a16="http://schemas.microsoft.com/office/drawing/2014/main" id="{F0FA2887-8AC8-82EF-51BA-302663A891CE}"/>
                    </a:ext>
                  </a:extLst>
                </p:cNvPr>
                <p:cNvSpPr txBox="1"/>
                <p:nvPr/>
              </p:nvSpPr>
              <p:spPr>
                <a:xfrm>
                  <a:off x="8288871" y="6316596"/>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Data Sources </a:t>
                  </a:r>
                  <a:b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b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SQL, etc.)</a:t>
                  </a:r>
                </a:p>
              </p:txBody>
            </p:sp>
            <p:sp>
              <p:nvSpPr>
                <p:cNvPr id="62" name="TextBox 61">
                  <a:extLst>
                    <a:ext uri="{FF2B5EF4-FFF2-40B4-BE49-F238E27FC236}">
                      <a16:creationId xmlns:a16="http://schemas.microsoft.com/office/drawing/2014/main" id="{17DDADC2-F5CE-56C0-DFD7-075533D5B77A}"/>
                    </a:ext>
                  </a:extLst>
                </p:cNvPr>
                <p:cNvSpPr txBox="1"/>
                <p:nvPr/>
              </p:nvSpPr>
              <p:spPr>
                <a:xfrm>
                  <a:off x="9017809" y="6334267"/>
                  <a:ext cx="606752" cy="1558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ormAutofit fontScale="92500" lnSpcReduction="20000"/>
                </a:bodyPr>
                <a:lstStyle/>
                <a:p>
                  <a:pPr marL="0" marR="0" lvl="0" indent="0" algn="ctr" defTabSz="1218712" rtl="0" eaLnBrk="1" fontAlgn="auto" latinLnBrk="0" hangingPunct="1">
                    <a:lnSpc>
                      <a:spcPct val="100000"/>
                    </a:lnSpc>
                    <a:spcBef>
                      <a:spcPts val="1450"/>
                    </a:spcBef>
                    <a:spcAft>
                      <a:spcPts val="0"/>
                    </a:spcAft>
                    <a:buClrTx/>
                    <a:buSzPct val="100000"/>
                    <a:buFontTx/>
                    <a:buNone/>
                    <a:tabLst/>
                    <a:defRPr/>
                  </a:pPr>
                  <a:r>
                    <a:rPr kumimoji="0" lang="en-US" sz="700" b="0" i="0" u="none" strike="noStrike" kern="0" cap="none" spc="0" normalizeH="0" baseline="0" noProof="0">
                      <a:ln>
                        <a:noFill/>
                      </a:ln>
                      <a:solidFill>
                        <a:srgbClr val="000000"/>
                      </a:solidFill>
                      <a:effectLst/>
                      <a:uLnTx/>
                      <a:uFillTx/>
                      <a:latin typeface="IBM Plex Sans Light"/>
                      <a:ea typeface="+mn-ea"/>
                      <a:cs typeface="+mn-cs"/>
                      <a:sym typeface="IBM Plex Sans Light"/>
                    </a:rPr>
                    <a:t>Built-In Tools (Web search, …)</a:t>
                  </a:r>
                </a:p>
              </p:txBody>
            </p:sp>
          </p:grpSp>
          <p:pic>
            <p:nvPicPr>
              <p:cNvPr id="86" name="Picture 85">
                <a:extLst>
                  <a:ext uri="{FF2B5EF4-FFF2-40B4-BE49-F238E27FC236}">
                    <a16:creationId xmlns:a16="http://schemas.microsoft.com/office/drawing/2014/main" id="{E617F974-07CD-CD8F-D0C4-0B5E3F556265}"/>
                  </a:ext>
                </a:extLst>
              </p:cNvPr>
              <p:cNvPicPr>
                <a:picLocks noChangeAspect="1"/>
              </p:cNvPicPr>
              <p:nvPr/>
            </p:nvPicPr>
            <p:blipFill>
              <a:blip r:embed="rId2"/>
              <a:stretch>
                <a:fillRect/>
              </a:stretch>
            </p:blipFill>
            <p:spPr>
              <a:xfrm>
                <a:off x="9361942" y="6165925"/>
                <a:ext cx="1351190" cy="174626"/>
              </a:xfrm>
              <a:prstGeom prst="rect">
                <a:avLst/>
              </a:prstGeom>
            </p:spPr>
          </p:pic>
          <p:pic>
            <p:nvPicPr>
              <p:cNvPr id="89" name="Picture 88" descr="A blue and orange logo&#10;&#10;AI-generated content may be incorrect.">
                <a:extLst>
                  <a:ext uri="{FF2B5EF4-FFF2-40B4-BE49-F238E27FC236}">
                    <a16:creationId xmlns:a16="http://schemas.microsoft.com/office/drawing/2014/main" id="{B76BA0BA-98AB-7D88-9B9B-256F7D3ACA32}"/>
                  </a:ext>
                </a:extLst>
              </p:cNvPr>
              <p:cNvPicPr>
                <a:picLocks noChangeAspect="1"/>
              </p:cNvPicPr>
              <p:nvPr/>
            </p:nvPicPr>
            <p:blipFill>
              <a:blip r:embed="rId21"/>
              <a:stretch>
                <a:fillRect/>
              </a:stretch>
            </p:blipFill>
            <p:spPr>
              <a:xfrm>
                <a:off x="9925429" y="3651476"/>
                <a:ext cx="771525" cy="307976"/>
              </a:xfrm>
              <a:prstGeom prst="rect">
                <a:avLst/>
              </a:prstGeom>
            </p:spPr>
          </p:pic>
          <p:pic>
            <p:nvPicPr>
              <p:cNvPr id="90" name="Picture 89" descr="A colorful squares on a black background&#10;&#10;AI-generated content may be incorrect.">
                <a:extLst>
                  <a:ext uri="{FF2B5EF4-FFF2-40B4-BE49-F238E27FC236}">
                    <a16:creationId xmlns:a16="http://schemas.microsoft.com/office/drawing/2014/main" id="{E9F9BBF7-E5F1-2F07-868A-452A010706BA}"/>
                  </a:ext>
                </a:extLst>
              </p:cNvPr>
              <p:cNvPicPr>
                <a:picLocks noChangeAspect="1"/>
              </p:cNvPicPr>
              <p:nvPr/>
            </p:nvPicPr>
            <p:blipFill>
              <a:blip r:embed="rId22"/>
              <a:stretch>
                <a:fillRect/>
              </a:stretch>
            </p:blipFill>
            <p:spPr>
              <a:xfrm>
                <a:off x="10193112" y="4278991"/>
                <a:ext cx="296635" cy="313872"/>
              </a:xfrm>
              <a:prstGeom prst="rect">
                <a:avLst/>
              </a:prstGeom>
            </p:spPr>
          </p:pic>
          <p:pic>
            <p:nvPicPr>
              <p:cNvPr id="92" name="Picture 91" descr="A logo for a company&#10;&#10;AI-generated content may be incorrect.">
                <a:extLst>
                  <a:ext uri="{FF2B5EF4-FFF2-40B4-BE49-F238E27FC236}">
                    <a16:creationId xmlns:a16="http://schemas.microsoft.com/office/drawing/2014/main" id="{256316D9-C7A8-0E85-CA7B-2307D233FAA4}"/>
                  </a:ext>
                </a:extLst>
              </p:cNvPr>
              <p:cNvPicPr>
                <a:picLocks noChangeAspect="1"/>
              </p:cNvPicPr>
              <p:nvPr/>
            </p:nvPicPr>
            <p:blipFill>
              <a:blip r:embed="rId23"/>
              <a:stretch>
                <a:fillRect/>
              </a:stretch>
            </p:blipFill>
            <p:spPr>
              <a:xfrm>
                <a:off x="10183586" y="4586514"/>
                <a:ext cx="796472" cy="460829"/>
              </a:xfrm>
              <a:prstGeom prst="rect">
                <a:avLst/>
              </a:prstGeom>
              <a:ln>
                <a:noFill/>
              </a:ln>
            </p:spPr>
          </p:pic>
          <p:pic>
            <p:nvPicPr>
              <p:cNvPr id="93" name="Picture 92" descr="A logo with purple letters&#10;&#10;AI-generated content may be incorrect.">
                <a:extLst>
                  <a:ext uri="{FF2B5EF4-FFF2-40B4-BE49-F238E27FC236}">
                    <a16:creationId xmlns:a16="http://schemas.microsoft.com/office/drawing/2014/main" id="{1E5A1142-DBA7-4E0E-A95C-AF58A62B328B}"/>
                  </a:ext>
                </a:extLst>
              </p:cNvPr>
              <p:cNvPicPr>
                <a:picLocks noChangeAspect="1"/>
              </p:cNvPicPr>
              <p:nvPr/>
            </p:nvPicPr>
            <p:blipFill>
              <a:blip r:embed="rId24"/>
              <a:stretch>
                <a:fillRect/>
              </a:stretch>
            </p:blipFill>
            <p:spPr>
              <a:xfrm>
                <a:off x="10084707" y="5043261"/>
                <a:ext cx="803730" cy="445409"/>
              </a:xfrm>
              <a:prstGeom prst="rect">
                <a:avLst/>
              </a:prstGeom>
            </p:spPr>
          </p:pic>
          <p:pic>
            <p:nvPicPr>
              <p:cNvPr id="95" name="Picture 94">
                <a:extLst>
                  <a:ext uri="{FF2B5EF4-FFF2-40B4-BE49-F238E27FC236}">
                    <a16:creationId xmlns:a16="http://schemas.microsoft.com/office/drawing/2014/main" id="{EDA5BD4D-5AA5-AB3B-57CC-6B4328F5BED4}"/>
                  </a:ext>
                </a:extLst>
              </p:cNvPr>
              <p:cNvPicPr>
                <a:picLocks noChangeAspect="1"/>
              </p:cNvPicPr>
              <p:nvPr/>
            </p:nvPicPr>
            <p:blipFill>
              <a:blip r:embed="rId25"/>
              <a:stretch>
                <a:fillRect/>
              </a:stretch>
            </p:blipFill>
            <p:spPr>
              <a:xfrm>
                <a:off x="10084706" y="5486173"/>
                <a:ext cx="803729" cy="321582"/>
              </a:xfrm>
              <a:prstGeom prst="rect">
                <a:avLst/>
              </a:prstGeom>
              <a:ln>
                <a:noFill/>
              </a:ln>
            </p:spPr>
          </p:pic>
          <p:pic>
            <p:nvPicPr>
              <p:cNvPr id="97" name="Picture 96">
                <a:extLst>
                  <a:ext uri="{FF2B5EF4-FFF2-40B4-BE49-F238E27FC236}">
                    <a16:creationId xmlns:a16="http://schemas.microsoft.com/office/drawing/2014/main" id="{E2098470-5799-E9DF-CECA-FC31404BA8BC}"/>
                  </a:ext>
                </a:extLst>
              </p:cNvPr>
              <p:cNvPicPr>
                <a:picLocks noChangeAspect="1"/>
              </p:cNvPicPr>
              <p:nvPr/>
            </p:nvPicPr>
            <p:blipFill>
              <a:blip r:embed="rId26"/>
              <a:stretch>
                <a:fillRect/>
              </a:stretch>
            </p:blipFill>
            <p:spPr>
              <a:xfrm>
                <a:off x="9334500" y="5805261"/>
                <a:ext cx="1251858" cy="245837"/>
              </a:xfrm>
              <a:prstGeom prst="rect">
                <a:avLst/>
              </a:prstGeom>
              <a:ln>
                <a:noFill/>
              </a:ln>
            </p:spPr>
          </p:pic>
          <p:pic>
            <p:nvPicPr>
              <p:cNvPr id="98" name="Picture 97">
                <a:extLst>
                  <a:ext uri="{FF2B5EF4-FFF2-40B4-BE49-F238E27FC236}">
                    <a16:creationId xmlns:a16="http://schemas.microsoft.com/office/drawing/2014/main" id="{4B724480-EE15-B814-302E-43835B5E821B}"/>
                  </a:ext>
                </a:extLst>
              </p:cNvPr>
              <p:cNvPicPr>
                <a:picLocks noChangeAspect="1"/>
              </p:cNvPicPr>
              <p:nvPr/>
            </p:nvPicPr>
            <p:blipFill>
              <a:blip r:embed="rId27"/>
              <a:stretch>
                <a:fillRect/>
              </a:stretch>
            </p:blipFill>
            <p:spPr>
              <a:xfrm>
                <a:off x="10407499" y="4028167"/>
                <a:ext cx="363764" cy="316592"/>
              </a:xfrm>
              <a:prstGeom prst="rect">
                <a:avLst/>
              </a:prstGeom>
            </p:spPr>
          </p:pic>
        </p:grpSp>
      </p:grpSp>
      <p:sp>
        <p:nvSpPr>
          <p:cNvPr id="44" name="Footer Placeholder 43">
            <a:extLst>
              <a:ext uri="{FF2B5EF4-FFF2-40B4-BE49-F238E27FC236}">
                <a16:creationId xmlns:a16="http://schemas.microsoft.com/office/drawing/2014/main" id="{369B6D36-1F5A-031E-168D-75B8EDFDB331}"/>
              </a:ext>
            </a:extLst>
          </p:cNvPr>
          <p:cNvSpPr>
            <a:spLocks noGrp="1"/>
          </p:cNvSpPr>
          <p:nvPr>
            <p:ph type="ftr" sz="quarter" idx="3"/>
          </p:nvPr>
        </p:nvSpPr>
        <p:spPr>
          <a:xfrm>
            <a:off x="248472" y="6493631"/>
            <a:ext cx="2477765" cy="190500"/>
          </a:xfrm>
        </p:spPr>
        <p:txBody>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2025 cloudflight / IBM Corporation </a:t>
            </a:r>
          </a:p>
        </p:txBody>
      </p:sp>
    </p:spTree>
    <p:extLst>
      <p:ext uri="{BB962C8B-B14F-4D97-AF65-F5344CB8AC3E}">
        <p14:creationId xmlns:p14="http://schemas.microsoft.com/office/powerpoint/2010/main" val="2750914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60C1B-A862-7938-093B-6626D017F411}"/>
            </a:ext>
          </a:extLst>
        </p:cNvPr>
        <p:cNvGrpSpPr/>
        <p:nvPr/>
      </p:nvGrpSpPr>
      <p:grpSpPr>
        <a:xfrm>
          <a:off x="0" y="0"/>
          <a:ext cx="0" cy="0"/>
          <a:chOff x="0" y="0"/>
          <a:chExt cx="0" cy="0"/>
        </a:xfrm>
      </p:grpSpPr>
      <p:sp>
        <p:nvSpPr>
          <p:cNvPr id="15" name="Rectangle 14" descr="Blue 10 half slide background">
            <a:extLst>
              <a:ext uri="{FF2B5EF4-FFF2-40B4-BE49-F238E27FC236}">
                <a16:creationId xmlns:a16="http://schemas.microsoft.com/office/drawing/2014/main" id="{03CEC568-80FD-9EF5-A503-2266D4AB32A7}"/>
              </a:ext>
            </a:extLst>
          </p:cNvPr>
          <p:cNvSpPr/>
          <p:nvPr/>
        </p:nvSpPr>
        <p:spPr bwMode="auto">
          <a:xfrm>
            <a:off x="0" y="-13745"/>
            <a:ext cx="12192000" cy="2672112"/>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de-DE"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 name="Title 1">
            <a:extLst>
              <a:ext uri="{FF2B5EF4-FFF2-40B4-BE49-F238E27FC236}">
                <a16:creationId xmlns:a16="http://schemas.microsoft.com/office/drawing/2014/main" id="{667BDEEB-BC76-D9F3-805C-D4583C474D37}"/>
              </a:ext>
            </a:extLst>
          </p:cNvPr>
          <p:cNvSpPr>
            <a:spLocks noGrp="1"/>
          </p:cNvSpPr>
          <p:nvPr>
            <p:ph type="title"/>
          </p:nvPr>
        </p:nvSpPr>
        <p:spPr>
          <a:xfrm>
            <a:off x="287999" y="192445"/>
            <a:ext cx="7066084" cy="2015734"/>
          </a:xfrm>
        </p:spPr>
        <p:txBody>
          <a:bodyPr/>
          <a:lstStyle/>
          <a:p>
            <a:r>
              <a:rPr lang="de-DE" noProof="0" dirty="0"/>
              <a:t>Für die Umsetzung der souveränen KI gibt es verschiedene Alternativen, </a:t>
            </a:r>
            <a:r>
              <a:rPr lang="de-DE" b="1" i="1" noProof="0" dirty="0"/>
              <a:t>wo</a:t>
            </a:r>
            <a:r>
              <a:rPr lang="de-DE" noProof="0" dirty="0"/>
              <a:t> der Software Technologie-Stack betrieben werden kann</a:t>
            </a:r>
          </a:p>
        </p:txBody>
      </p:sp>
      <p:sp>
        <p:nvSpPr>
          <p:cNvPr id="3" name="Text Placeholder 2">
            <a:extLst>
              <a:ext uri="{FF2B5EF4-FFF2-40B4-BE49-F238E27FC236}">
                <a16:creationId xmlns:a16="http://schemas.microsoft.com/office/drawing/2014/main" id="{570481FD-DF77-9848-75E8-29E0CB43AFFB}"/>
              </a:ext>
            </a:extLst>
          </p:cNvPr>
          <p:cNvSpPr>
            <a:spLocks noGrp="1"/>
          </p:cNvSpPr>
          <p:nvPr>
            <p:ph type="body" sz="quarter" idx="11"/>
          </p:nvPr>
        </p:nvSpPr>
        <p:spPr>
          <a:xfrm>
            <a:off x="287999" y="2837850"/>
            <a:ext cx="2474590" cy="2672111"/>
          </a:xfrm>
        </p:spPr>
        <p:txBody>
          <a:bodyPr/>
          <a:lstStyle/>
          <a:p>
            <a:r>
              <a:rPr lang="de-DE" sz="3199" noProof="0" dirty="0">
                <a:solidFill>
                  <a:schemeClr val="accent1"/>
                </a:solidFill>
              </a:rPr>
              <a:t>1</a:t>
            </a:r>
          </a:p>
          <a:p>
            <a:r>
              <a:rPr lang="de-DE" sz="2200" noProof="0" dirty="0">
                <a:solidFill>
                  <a:schemeClr val="accent1"/>
                </a:solidFill>
              </a:rPr>
              <a:t>(on-prem)</a:t>
            </a:r>
          </a:p>
          <a:p>
            <a:br>
              <a:rPr lang="de-DE" noProof="0" dirty="0"/>
            </a:br>
            <a:r>
              <a:rPr lang="de-DE" sz="1200" noProof="0" dirty="0"/>
              <a:t>Im eigenen Rechenzentrum auf eigener Hardware durch eigene </a:t>
            </a:r>
          </a:p>
          <a:p>
            <a:r>
              <a:rPr lang="de-DE" sz="1200" noProof="0" dirty="0"/>
              <a:t>IT oder durch Business Partner betrieben</a:t>
            </a:r>
          </a:p>
        </p:txBody>
      </p:sp>
      <p:sp>
        <p:nvSpPr>
          <p:cNvPr id="4" name="Text Placeholder 3">
            <a:extLst>
              <a:ext uri="{FF2B5EF4-FFF2-40B4-BE49-F238E27FC236}">
                <a16:creationId xmlns:a16="http://schemas.microsoft.com/office/drawing/2014/main" id="{C89A9A52-7A07-FA79-CAFA-2058C21EF7F8}"/>
              </a:ext>
            </a:extLst>
          </p:cNvPr>
          <p:cNvSpPr>
            <a:spLocks noGrp="1"/>
          </p:cNvSpPr>
          <p:nvPr>
            <p:ph type="body" sz="quarter" idx="12"/>
          </p:nvPr>
        </p:nvSpPr>
        <p:spPr>
          <a:xfrm>
            <a:off x="9429316" y="2837850"/>
            <a:ext cx="2474590" cy="2672111"/>
          </a:xfrm>
        </p:spPr>
        <p:txBody>
          <a:bodyPr/>
          <a:lstStyle/>
          <a:p>
            <a:r>
              <a:rPr lang="de-DE" sz="3199" noProof="0" dirty="0">
                <a:solidFill>
                  <a:schemeClr val="accent1"/>
                </a:solidFill>
              </a:rPr>
              <a:t>3</a:t>
            </a:r>
          </a:p>
          <a:p>
            <a:r>
              <a:rPr lang="de-DE" sz="2200" noProof="0" dirty="0">
                <a:solidFill>
                  <a:schemeClr val="accent1"/>
                </a:solidFill>
              </a:rPr>
              <a:t>(Partner-RZ/Cloud)</a:t>
            </a:r>
          </a:p>
          <a:p>
            <a:br>
              <a:rPr lang="de-DE" noProof="0" dirty="0"/>
            </a:br>
            <a:r>
              <a:rPr lang="de-DE" sz="1200" noProof="0" dirty="0"/>
              <a:t>In jedem Partner - oder Cloud- Rechenzentrum (RZ) betrieben durch Partner</a:t>
            </a:r>
          </a:p>
        </p:txBody>
      </p:sp>
      <p:cxnSp>
        <p:nvCxnSpPr>
          <p:cNvPr id="16" name="Straight Connector 15" descr="Vertical column divider">
            <a:extLst>
              <a:ext uri="{FF2B5EF4-FFF2-40B4-BE49-F238E27FC236}">
                <a16:creationId xmlns:a16="http://schemas.microsoft.com/office/drawing/2014/main" id="{A0F0F714-9CFE-A028-1E99-7DB6845C937C}"/>
              </a:ext>
            </a:extLst>
          </p:cNvPr>
          <p:cNvCxnSpPr>
            <a:cxnSpLocks/>
          </p:cNvCxnSpPr>
          <p:nvPr/>
        </p:nvCxnSpPr>
        <p:spPr bwMode="auto">
          <a:xfrm>
            <a:off x="3047603" y="2864557"/>
            <a:ext cx="0" cy="32040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descr="Vertical column divider">
            <a:extLst>
              <a:ext uri="{FF2B5EF4-FFF2-40B4-BE49-F238E27FC236}">
                <a16:creationId xmlns:a16="http://schemas.microsoft.com/office/drawing/2014/main" id="{4922B9B2-C992-F50C-91A7-A769D57334CD}"/>
              </a:ext>
            </a:extLst>
          </p:cNvPr>
          <p:cNvCxnSpPr>
            <a:cxnSpLocks/>
          </p:cNvCxnSpPr>
          <p:nvPr/>
        </p:nvCxnSpPr>
        <p:spPr bwMode="auto">
          <a:xfrm>
            <a:off x="9153007" y="2866176"/>
            <a:ext cx="0" cy="32040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95EEDDBE-7312-7081-F9AE-259C65DE8979}"/>
              </a:ext>
            </a:extLst>
          </p:cNvPr>
          <p:cNvSpPr>
            <a:spLocks noGrp="1"/>
          </p:cNvSpPr>
          <p:nvPr>
            <p:ph type="body" sz="quarter" idx="13"/>
          </p:nvPr>
        </p:nvSpPr>
        <p:spPr>
          <a:xfrm>
            <a:off x="3346501" y="2837850"/>
            <a:ext cx="2474589" cy="3127011"/>
          </a:xfrm>
        </p:spPr>
        <p:txBody>
          <a:bodyPr/>
          <a:lstStyle/>
          <a:p>
            <a:r>
              <a:rPr lang="de-DE" sz="3199" noProof="0" dirty="0">
                <a:solidFill>
                  <a:schemeClr val="accent1"/>
                </a:solidFill>
              </a:rPr>
              <a:t>2</a:t>
            </a:r>
          </a:p>
          <a:p>
            <a:r>
              <a:rPr lang="de-DE" sz="2200" noProof="0" dirty="0">
                <a:solidFill>
                  <a:schemeClr val="accent1"/>
                </a:solidFill>
              </a:rPr>
              <a:t>(in-a-Box)</a:t>
            </a:r>
          </a:p>
          <a:p>
            <a:br>
              <a:rPr lang="de-DE" noProof="0" dirty="0"/>
            </a:br>
            <a:r>
              <a:rPr lang="de-DE" sz="1200" noProof="0" dirty="0"/>
              <a:t>Appliance basierend auf x86 Hardware für Virtualisierung &amp; Containerisierung als Grundlage von </a:t>
            </a:r>
            <a:r>
              <a:rPr lang="de-DE" sz="1200" noProof="0" dirty="0" err="1"/>
              <a:t>OpenShift</a:t>
            </a:r>
            <a:r>
              <a:rPr lang="de-DE" sz="1200" noProof="0" dirty="0"/>
              <a:t> für watsonx und Cloud Pak </a:t>
            </a:r>
            <a:r>
              <a:rPr lang="de-DE" sz="1200" noProof="0" dirty="0" err="1"/>
              <a:t>for</a:t>
            </a:r>
            <a:r>
              <a:rPr lang="de-DE" sz="1200" noProof="0" dirty="0"/>
              <a:t> Data (optional)</a:t>
            </a:r>
          </a:p>
          <a:p>
            <a:br>
              <a:rPr lang="de-DE" sz="1200" noProof="0" dirty="0"/>
            </a:br>
            <a:r>
              <a:rPr lang="de-DE" sz="1200" noProof="0" dirty="0"/>
              <a:t>Nodes mit Nvidia und AMD GPUs lieferbar</a:t>
            </a:r>
            <a:br>
              <a:rPr lang="de-DE" noProof="0" dirty="0"/>
            </a:br>
            <a:endParaRPr lang="de-DE" noProof="0" dirty="0"/>
          </a:p>
        </p:txBody>
      </p:sp>
      <p:sp>
        <p:nvSpPr>
          <p:cNvPr id="8" name="Textfeld 7">
            <a:extLst>
              <a:ext uri="{FF2B5EF4-FFF2-40B4-BE49-F238E27FC236}">
                <a16:creationId xmlns:a16="http://schemas.microsoft.com/office/drawing/2014/main" id="{9AAF81D4-E5D8-109A-572F-709BDD62F16D}"/>
              </a:ext>
            </a:extLst>
          </p:cNvPr>
          <p:cNvSpPr txBox="1"/>
          <p:nvPr/>
        </p:nvSpPr>
        <p:spPr>
          <a:xfrm>
            <a:off x="7645351" y="1580400"/>
            <a:ext cx="1343613" cy="923305"/>
          </a:xfrm>
          <a:prstGeom prst="rect">
            <a:avLst/>
          </a:prstGeom>
          <a:noFill/>
        </p:spPr>
        <p:txBody>
          <a:bodyPr wrap="none" lIns="91428" tIns="91428" rIns="91428" bIns="91428" rtlCol="0">
            <a:spAutoFit/>
          </a:bodyPr>
          <a:lstStyle/>
          <a:p>
            <a:pPr marL="0" marR="0" lvl="0" indent="0" algn="r" defTabSz="914400" rtl="0" eaLnBrk="1" fontAlgn="auto" latinLnBrk="0" hangingPunct="1">
              <a:lnSpc>
                <a:spcPct val="100000"/>
              </a:lnSpc>
              <a:spcBef>
                <a:spcPts val="110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t>Software</a:t>
            </a:r>
            <a:b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br>
            <a: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t>Technologie</a:t>
            </a:r>
            <a:b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br>
            <a:r>
              <a:rPr kumimoji="0" lang="de-DE" sz="1600" b="0" i="0" u="none" strike="noStrike" kern="1200" cap="none" spc="0" normalizeH="0" baseline="0" noProof="0" dirty="0">
                <a:ln>
                  <a:noFill/>
                </a:ln>
                <a:solidFill>
                  <a:srgbClr val="000000"/>
                </a:solidFill>
                <a:effectLst/>
                <a:uLnTx/>
                <a:uFillTx/>
                <a:latin typeface="IBM Plex Sans Light" panose="020B0403050000000000" pitchFamily="34" charset="77"/>
                <a:ea typeface="IBM Plex Sans" charset="0"/>
                <a:cs typeface="IBM Plex Sans" charset="0"/>
              </a:rPr>
              <a:t>Stack</a:t>
            </a:r>
          </a:p>
        </p:txBody>
      </p:sp>
      <p:pic>
        <p:nvPicPr>
          <p:cNvPr id="7" name="Grafik 6" descr="Ein Bild, das Text, Screenshot, Multimedia-Software, Design enthält.&#10;&#10;Automatisch generierte Beschreibung">
            <a:extLst>
              <a:ext uri="{FF2B5EF4-FFF2-40B4-BE49-F238E27FC236}">
                <a16:creationId xmlns:a16="http://schemas.microsoft.com/office/drawing/2014/main" id="{56C8C57A-3684-9B68-6EDF-02D45A5CE75A}"/>
              </a:ext>
            </a:extLst>
          </p:cNvPr>
          <p:cNvPicPr>
            <a:picLocks noChangeAspect="1"/>
          </p:cNvPicPr>
          <p:nvPr/>
        </p:nvPicPr>
        <p:blipFill>
          <a:blip r:embed="rId3"/>
          <a:stretch>
            <a:fillRect/>
          </a:stretch>
        </p:blipFill>
        <p:spPr>
          <a:xfrm>
            <a:off x="1242979" y="4876642"/>
            <a:ext cx="1575682" cy="1133274"/>
          </a:xfrm>
          <a:prstGeom prst="rect">
            <a:avLst/>
          </a:prstGeom>
        </p:spPr>
      </p:pic>
      <p:sp>
        <p:nvSpPr>
          <p:cNvPr id="12" name="Title 1">
            <a:extLst>
              <a:ext uri="{FF2B5EF4-FFF2-40B4-BE49-F238E27FC236}">
                <a16:creationId xmlns:a16="http://schemas.microsoft.com/office/drawing/2014/main" id="{AC6153EB-A8AF-31CA-7EC2-2CB4C791B42E}"/>
              </a:ext>
            </a:extLst>
          </p:cNvPr>
          <p:cNvSpPr txBox="1">
            <a:spLocks/>
          </p:cNvSpPr>
          <p:nvPr/>
        </p:nvSpPr>
        <p:spPr>
          <a:xfrm>
            <a:off x="6599190" y="3430474"/>
            <a:ext cx="2578432" cy="3763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457200" bIns="0"/>
          <a:lst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IBM Fusion HCI</a:t>
            </a:r>
            <a:endParaRPr kumimoji="0" lang="de-DE" sz="10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pic>
        <p:nvPicPr>
          <p:cNvPr id="14" name="Picture Placeholder 4" descr="A picture containing text, electronics, computer, dark&#10;&#10;Description automatically generated">
            <a:extLst>
              <a:ext uri="{FF2B5EF4-FFF2-40B4-BE49-F238E27FC236}">
                <a16:creationId xmlns:a16="http://schemas.microsoft.com/office/drawing/2014/main" id="{8D7BD05E-08B2-F958-A48D-6435EA3E61B5}"/>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6462774" y="3666936"/>
            <a:ext cx="885609" cy="24953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pic>
      <p:pic>
        <p:nvPicPr>
          <p:cNvPr id="18" name="Grafik 17">
            <a:extLst>
              <a:ext uri="{FF2B5EF4-FFF2-40B4-BE49-F238E27FC236}">
                <a16:creationId xmlns:a16="http://schemas.microsoft.com/office/drawing/2014/main" id="{A87DEACC-51A3-0A43-715F-66C73EC0F071}"/>
              </a:ext>
            </a:extLst>
          </p:cNvPr>
          <p:cNvPicPr>
            <a:picLocks noChangeAspect="1"/>
          </p:cNvPicPr>
          <p:nvPr/>
        </p:nvPicPr>
        <p:blipFill>
          <a:blip r:embed="rId5"/>
          <a:stretch>
            <a:fillRect/>
          </a:stretch>
        </p:blipFill>
        <p:spPr>
          <a:xfrm>
            <a:off x="7531600" y="3780252"/>
            <a:ext cx="1336392" cy="2229664"/>
          </a:xfrm>
          <a:prstGeom prst="rect">
            <a:avLst/>
          </a:prstGeom>
        </p:spPr>
      </p:pic>
      <p:pic>
        <p:nvPicPr>
          <p:cNvPr id="6" name="Picture 5">
            <a:extLst>
              <a:ext uri="{FF2B5EF4-FFF2-40B4-BE49-F238E27FC236}">
                <a16:creationId xmlns:a16="http://schemas.microsoft.com/office/drawing/2014/main" id="{AE88D6FB-F3BC-9F07-D8ED-D73062EE3A06}"/>
              </a:ext>
            </a:extLst>
          </p:cNvPr>
          <p:cNvPicPr>
            <a:picLocks noChangeAspect="1"/>
          </p:cNvPicPr>
          <p:nvPr/>
        </p:nvPicPr>
        <p:blipFill>
          <a:blip r:embed="rId6"/>
          <a:stretch>
            <a:fillRect/>
          </a:stretch>
        </p:blipFill>
        <p:spPr>
          <a:xfrm>
            <a:off x="9153007" y="192445"/>
            <a:ext cx="2852991" cy="2200705"/>
          </a:xfrm>
          <a:prstGeom prst="rect">
            <a:avLst/>
          </a:prstGeom>
        </p:spPr>
      </p:pic>
      <p:sp>
        <p:nvSpPr>
          <p:cNvPr id="19" name="Slide Number Placeholder 14">
            <a:extLst>
              <a:ext uri="{FF2B5EF4-FFF2-40B4-BE49-F238E27FC236}">
                <a16:creationId xmlns:a16="http://schemas.microsoft.com/office/drawing/2014/main" id="{C6647E19-C05A-1C96-CA86-8EE9729384BE}"/>
              </a:ext>
            </a:extLst>
          </p:cNvPr>
          <p:cNvSpPr txBox="1">
            <a:spLocks/>
          </p:cNvSpPr>
          <p:nvPr/>
        </p:nvSpPr>
        <p:spPr>
          <a:xfrm>
            <a:off x="11769264" y="6475769"/>
            <a:ext cx="135436"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9" name="Footer Placeholder 8">
            <a:extLst>
              <a:ext uri="{FF2B5EF4-FFF2-40B4-BE49-F238E27FC236}">
                <a16:creationId xmlns:a16="http://schemas.microsoft.com/office/drawing/2014/main" id="{3BE28BA3-7CBB-2D81-7DF4-E775BE038378}"/>
              </a:ext>
            </a:extLst>
          </p:cNvPr>
          <p:cNvSpPr>
            <a:spLocks noGrp="1"/>
          </p:cNvSpPr>
          <p:nvPr>
            <p:ph type="ftr" sz="quarter" idx="15"/>
          </p:nvPr>
        </p:nvSpPr>
        <p:spPr>
          <a:xfrm>
            <a:off x="284824" y="6408380"/>
            <a:ext cx="2477765" cy="1905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2025 </a:t>
            </a:r>
            <a:r>
              <a:rPr kumimoji="0" lang="en-US" sz="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loudflight</a:t>
            </a: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 IBM Corporation </a:t>
            </a:r>
          </a:p>
        </p:txBody>
      </p:sp>
    </p:spTree>
    <p:extLst>
      <p:ext uri="{BB962C8B-B14F-4D97-AF65-F5344CB8AC3E}">
        <p14:creationId xmlns:p14="http://schemas.microsoft.com/office/powerpoint/2010/main" val="982576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CAD08-0125-8D68-45C6-9C1ABEE7BA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FA0E1D-AE59-79B6-BD9A-E1AB058BB154}"/>
              </a:ext>
            </a:extLst>
          </p:cNvPr>
          <p:cNvSpPr>
            <a:spLocks noGrp="1"/>
          </p:cNvSpPr>
          <p:nvPr>
            <p:ph type="title"/>
          </p:nvPr>
        </p:nvSpPr>
        <p:spPr>
          <a:xfrm>
            <a:off x="252483" y="634088"/>
            <a:ext cx="3369198" cy="1234216"/>
          </a:xfrm>
        </p:spPr>
        <p:txBody>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r>
              <a:rPr lang="en-US" sz="2799" dirty="0" err="1">
                <a:latin typeface="IBM Plex Sans Light" panose="020B0403050203000203" pitchFamily="34" charset="0"/>
              </a:rPr>
              <a:t>AgentOps</a:t>
            </a:r>
            <a:endParaRPr lang="en-US" sz="2000" dirty="0">
              <a:latin typeface="IBM Plex Sans Light" panose="020B0403050203000203" pitchFamily="34" charset="0"/>
            </a:endParaRPr>
          </a:p>
        </p:txBody>
      </p:sp>
      <p:sp>
        <p:nvSpPr>
          <p:cNvPr id="4" name="Title 1">
            <a:extLst>
              <a:ext uri="{FF2B5EF4-FFF2-40B4-BE49-F238E27FC236}">
                <a16:creationId xmlns:a16="http://schemas.microsoft.com/office/drawing/2014/main" id="{A9073560-A7D3-163E-2957-DB5142975924}"/>
              </a:ext>
            </a:extLst>
          </p:cNvPr>
          <p:cNvSpPr txBox="1">
            <a:spLocks/>
          </p:cNvSpPr>
          <p:nvPr/>
        </p:nvSpPr>
        <p:spPr>
          <a:xfrm>
            <a:off x="266420" y="102965"/>
            <a:ext cx="3369198" cy="39326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F62FE"/>
                </a:solidFill>
                <a:effectLst/>
                <a:uLnTx/>
                <a:uFillTx/>
                <a:latin typeface="Arial" panose="020B0604020202020204"/>
                <a:ea typeface="+mn-ea"/>
                <a:cs typeface="+mn-cs"/>
              </a:rPr>
              <a:t>AI/ML Ops, </a:t>
            </a:r>
            <a:r>
              <a:rPr kumimoji="0" lang="en-US" sz="1400" b="1" i="0" u="none" strike="noStrike" kern="0" cap="none" spc="0" normalizeH="0" baseline="0" noProof="0">
                <a:ln>
                  <a:noFill/>
                </a:ln>
                <a:solidFill>
                  <a:srgbClr val="000000"/>
                </a:solidFill>
                <a:effectLst/>
                <a:uLnTx/>
                <a:uFillTx/>
                <a:latin typeface="Arial" panose="020B0604020202020204"/>
                <a:ea typeface="+mn-ea"/>
                <a:cs typeface="+mn-cs"/>
              </a:rPr>
              <a:t>AI Tools</a:t>
            </a:r>
            <a:endParaRPr kumimoji="0" lang="en-US" sz="1100" b="1"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A909F3E7-F288-6296-26E9-7FE252458FF4}"/>
              </a:ext>
            </a:extLst>
          </p:cNvPr>
          <p:cNvSpPr txBox="1"/>
          <p:nvPr/>
        </p:nvSpPr>
        <p:spPr>
          <a:xfrm>
            <a:off x="298347" y="6281613"/>
            <a:ext cx="2742843" cy="169255"/>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2437912" rtl="0" eaLnBrk="1" fontAlgn="auto" latinLnBrk="0" hangingPunct="1">
              <a:lnSpc>
                <a:spcPct val="100000"/>
              </a:lnSpc>
              <a:spcBef>
                <a:spcPts val="2899"/>
              </a:spcBef>
              <a:spcAft>
                <a:spcPts val="0"/>
              </a:spcAft>
              <a:buClrTx/>
              <a:buSzPct val="100000"/>
              <a:buFontTx/>
              <a:buNone/>
              <a:tabLst/>
              <a:defRPr/>
            </a:pPr>
            <a:r>
              <a:rPr kumimoji="0" lang="en-US" sz="1100" b="0" i="0" u="none" strike="noStrike" kern="1200" cap="none" spc="0" normalizeH="0" baseline="0" noProof="0">
                <a:ln>
                  <a:noFill/>
                </a:ln>
                <a:solidFill>
                  <a:srgbClr val="0F62FE"/>
                </a:solidFill>
                <a:effectLst/>
                <a:uLnTx/>
                <a:uFillTx/>
                <a:latin typeface="Arial" panose="020B0604020202020204"/>
                <a:ea typeface="+mn-ea"/>
                <a:cs typeface="+mn-cs"/>
              </a:rPr>
              <a:t>Link to blog &gt;&gt;</a:t>
            </a:r>
          </a:p>
        </p:txBody>
      </p:sp>
      <p:sp>
        <p:nvSpPr>
          <p:cNvPr id="25" name="TextBox 24">
            <a:extLst>
              <a:ext uri="{FF2B5EF4-FFF2-40B4-BE49-F238E27FC236}">
                <a16:creationId xmlns:a16="http://schemas.microsoft.com/office/drawing/2014/main" id="{B0077166-5543-ACD3-937E-B12954EBCD76}"/>
              </a:ext>
            </a:extLst>
          </p:cNvPr>
          <p:cNvSpPr txBox="1"/>
          <p:nvPr/>
        </p:nvSpPr>
        <p:spPr>
          <a:xfrm>
            <a:off x="9600683" y="1375390"/>
            <a:ext cx="1555175" cy="97719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2437912" rtl="0" eaLnBrk="1" fontAlgn="auto" latinLnBrk="0" hangingPunct="1">
              <a:lnSpc>
                <a:spcPct val="100000"/>
              </a:lnSpc>
              <a:spcBef>
                <a:spcPts val="2899"/>
              </a:spcBef>
              <a:spcAft>
                <a:spcPts val="0"/>
              </a:spcAft>
              <a:buClrTx/>
              <a:buSzPct val="100000"/>
              <a:buFontTx/>
              <a:buNone/>
              <a:tabLst/>
              <a:defRPr/>
            </a:pPr>
            <a:r>
              <a:rPr kumimoji="0" lang="en-US" sz="3950" b="0" i="0" u="none" strike="noStrike" kern="1200" cap="none" spc="0" normalizeH="0" baseline="0" noProof="0">
                <a:ln>
                  <a:noFill/>
                </a:ln>
                <a:solidFill>
                  <a:srgbClr val="0F62FE"/>
                </a:solidFill>
                <a:effectLst/>
                <a:uLnTx/>
                <a:uFillTx/>
                <a:latin typeface="Arial" panose="020B0604020202020204"/>
                <a:ea typeface="+mn-ea"/>
                <a:cs typeface="Segoe UI"/>
              </a:rPr>
              <a:t>18hrs</a:t>
            </a:r>
            <a:r>
              <a:rPr kumimoji="0" lang="en-US" sz="3150" b="1" i="0" u="none" strike="noStrike" kern="1200" cap="none" spc="0" normalizeH="0" baseline="0" noProof="0">
                <a:ln>
                  <a:noFill/>
                </a:ln>
                <a:solidFill>
                  <a:srgbClr val="000000"/>
                </a:solidFill>
                <a:effectLst/>
                <a:uLnTx/>
                <a:uFillTx/>
                <a:latin typeface="Arial" panose="020B0604020202020204"/>
                <a:ea typeface="+mn-ea"/>
                <a:cs typeface="Segoe UI"/>
              </a:rPr>
              <a:t>   </a:t>
            </a:r>
            <a:r>
              <a:rPr kumimoji="0" lang="en-US" sz="1200" b="0" i="0" u="none" strike="noStrike" kern="1200" cap="none" spc="0" normalizeH="0" baseline="0" noProof="0">
                <a:ln>
                  <a:noFill/>
                </a:ln>
                <a:solidFill>
                  <a:srgbClr val="FFFFFF">
                    <a:lumMod val="65000"/>
                  </a:srgbClr>
                </a:solidFill>
                <a:effectLst/>
                <a:uLnTx/>
                <a:uFillTx/>
                <a:latin typeface="Arial" panose="020B0604020202020204"/>
                <a:ea typeface="+mn-ea"/>
                <a:cs typeface="Segoe UI"/>
              </a:rPr>
              <a:t>of development time saved</a:t>
            </a:r>
          </a:p>
        </p:txBody>
      </p:sp>
      <p:sp>
        <p:nvSpPr>
          <p:cNvPr id="18" name="Text Placeholder 9">
            <a:extLst>
              <a:ext uri="{FF2B5EF4-FFF2-40B4-BE49-F238E27FC236}">
                <a16:creationId xmlns:a16="http://schemas.microsoft.com/office/drawing/2014/main" id="{1C9DB5BA-30C0-7D8A-61AE-69C64E21DDC7}"/>
              </a:ext>
            </a:extLst>
          </p:cNvPr>
          <p:cNvSpPr txBox="1">
            <a:spLocks/>
          </p:cNvSpPr>
          <p:nvPr/>
        </p:nvSpPr>
        <p:spPr>
          <a:xfrm>
            <a:off x="5983800" y="877177"/>
            <a:ext cx="3289457" cy="600728"/>
          </a:xfrm>
          <a:prstGeom prst="rect">
            <a:avLst/>
          </a:prstGeom>
        </p:spPr>
        <p:txBody>
          <a:bodyPr lIns="91428" tIns="45714" rIns="91428" bIns="45714" anchor="t"/>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300"/>
              </a:spcBef>
              <a:spcAft>
                <a:spcPts val="300"/>
              </a:spcAft>
              <a:buClrTx/>
              <a:buSzTx/>
              <a:buFont typeface="Segoe UI,Sans-Serif"/>
              <a:buChar char="​"/>
              <a:tabLst/>
              <a:defRPr/>
            </a:pP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Lifecycle observability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enabling visibility &amp; tracking into custom agent lifecycles </a:t>
            </a:r>
          </a:p>
          <a:p>
            <a:pPr marL="0" marR="0" lvl="0" indent="0" algn="l" defTabSz="914507" rtl="0" eaLnBrk="1" fontAlgn="auto" latinLnBrk="0" hangingPunct="1">
              <a:lnSpc>
                <a:spcPct val="100000"/>
              </a:lnSpc>
              <a:spcBef>
                <a:spcPts val="300"/>
              </a:spcBef>
              <a:spcAft>
                <a:spcPts val="300"/>
              </a:spcAft>
              <a:buClrTx/>
              <a:buSzTx/>
              <a:buFont typeface="Segoe UI,Sans-Serif"/>
              <a:buChar char="​"/>
              <a:tabLst/>
              <a:defRPr/>
            </a:pP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Simplified agent deployment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with one-click deployment</a:t>
            </a:r>
          </a:p>
          <a:p>
            <a:pPr marL="0" marR="0" lvl="0" indent="0" algn="l" defTabSz="914507" rtl="0" eaLnBrk="1" fontAlgn="auto" latinLnBrk="0" hangingPunct="1">
              <a:lnSpc>
                <a:spcPct val="100000"/>
              </a:lnSpc>
              <a:spcBef>
                <a:spcPts val="300"/>
              </a:spcBef>
              <a:spcAft>
                <a:spcPts val="300"/>
              </a:spcAft>
              <a:buClrTx/>
              <a:buSzTx/>
              <a:buFont typeface="Segoe UI,Sans-Serif"/>
              <a:buChar char="​"/>
              <a:tabLst/>
              <a:defRPr/>
            </a:pP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Build custom agents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with all the models, tools, frameworks &amp; evaluation metrics needed to optimize agents</a:t>
            </a:r>
            <a:endParaRPr kumimoji="0" lang="en-US" sz="1300" b="1"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 name="Text Placeholder 9">
            <a:extLst>
              <a:ext uri="{FF2B5EF4-FFF2-40B4-BE49-F238E27FC236}">
                <a16:creationId xmlns:a16="http://schemas.microsoft.com/office/drawing/2014/main" id="{24DFB026-5782-C3D7-93FE-1AE4946ED08C}"/>
              </a:ext>
            </a:extLst>
          </p:cNvPr>
          <p:cNvSpPr txBox="1">
            <a:spLocks/>
          </p:cNvSpPr>
          <p:nvPr/>
        </p:nvSpPr>
        <p:spPr>
          <a:xfrm>
            <a:off x="2441085" y="887473"/>
            <a:ext cx="3343677" cy="1551883"/>
          </a:xfrm>
          <a:prstGeom prst="rect">
            <a:avLst/>
          </a:prstGeom>
        </p:spPr>
        <p:txBody>
          <a:bodyPr lIns="91428" tIns="45714" rIns="91428" bIns="45714" anchor="t"/>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err="1">
                <a:ln>
                  <a:noFill/>
                </a:ln>
                <a:solidFill>
                  <a:srgbClr val="000000"/>
                </a:solidFill>
                <a:effectLst/>
                <a:uLnTx/>
                <a:uFillTx/>
                <a:latin typeface="Arial" panose="020B0604020202020204"/>
                <a:ea typeface="+mn-ea"/>
                <a:cs typeface="+mn-cs"/>
              </a:rPr>
              <a:t>AgentOps</a:t>
            </a: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 enables end-to-end agent lifecycle management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amp; brings together the models, tools, frameworks, &amp; evaluation metrics into a unified process. </a:t>
            </a:r>
          </a:p>
          <a:p>
            <a:pPr marL="0" marR="0" lvl="0" indent="0" algn="l" defTabSz="914507"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The simplified stack enables development lifecycle optimization and </a:t>
            </a: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enhances performance </a:t>
            </a:r>
            <a:r>
              <a:rPr kumimoji="0" lang="en-US" sz="1300" b="0" i="0" u="none" strike="noStrike" kern="0" cap="none" spc="0" normalizeH="0" baseline="0" noProof="0">
                <a:ln>
                  <a:noFill/>
                </a:ln>
                <a:solidFill>
                  <a:srgbClr val="000000"/>
                </a:solidFill>
                <a:effectLst/>
                <a:uLnTx/>
                <a:uFillTx/>
                <a:latin typeface="Arial" panose="020B0604020202020204"/>
                <a:ea typeface="+mn-ea"/>
                <a:cs typeface="+mn-cs"/>
              </a:rPr>
              <a:t>and </a:t>
            </a:r>
            <a:r>
              <a:rPr kumimoji="0" lang="en-US" sz="1300" b="1" i="0" u="none" strike="noStrike" kern="0" cap="none" spc="0" normalizeH="0" baseline="0" noProof="0">
                <a:ln>
                  <a:noFill/>
                </a:ln>
                <a:solidFill>
                  <a:srgbClr val="000000"/>
                </a:solidFill>
                <a:effectLst/>
                <a:uLnTx/>
                <a:uFillTx/>
                <a:latin typeface="Arial" panose="020B0604020202020204"/>
                <a:ea typeface="+mn-ea"/>
                <a:cs typeface="+mn-cs"/>
              </a:rPr>
              <a:t>cost efficiency</a:t>
            </a:r>
          </a:p>
        </p:txBody>
      </p:sp>
      <p:sp>
        <p:nvSpPr>
          <p:cNvPr id="3" name="Rectangle 2">
            <a:extLst>
              <a:ext uri="{FF2B5EF4-FFF2-40B4-BE49-F238E27FC236}">
                <a16:creationId xmlns:a16="http://schemas.microsoft.com/office/drawing/2014/main" id="{D6A01E10-5759-7501-F893-B7BC9BC8CCF6}"/>
              </a:ext>
            </a:extLst>
          </p:cNvPr>
          <p:cNvSpPr/>
          <p:nvPr/>
        </p:nvSpPr>
        <p:spPr bwMode="auto">
          <a:xfrm>
            <a:off x="3203790" y="2983132"/>
            <a:ext cx="3109102" cy="1309032"/>
          </a:xfrm>
          <a:prstGeom prst="rect">
            <a:avLst/>
          </a:prstGeom>
          <a:solidFill>
            <a:schemeClr val="bg1">
              <a:lumMod val="85000"/>
            </a:schemeClr>
          </a:solidFill>
          <a:ln w="6350">
            <a:no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26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124FE1FB-671A-541D-C627-4D343D229B7E}"/>
              </a:ext>
            </a:extLst>
          </p:cNvPr>
          <p:cNvSpPr/>
          <p:nvPr/>
        </p:nvSpPr>
        <p:spPr bwMode="auto">
          <a:xfrm>
            <a:off x="7970267" y="2983050"/>
            <a:ext cx="3131892" cy="1309092"/>
          </a:xfrm>
          <a:prstGeom prst="rect">
            <a:avLst/>
          </a:prstGeom>
          <a:solidFill>
            <a:schemeClr val="bg1">
              <a:lumMod val="85000"/>
            </a:schemeClr>
          </a:solidFill>
          <a:ln w="6350">
            <a:no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457109" rtl="0" eaLnBrk="1" fontAlgn="base" latinLnBrk="0" hangingPunct="1">
              <a:lnSpc>
                <a:spcPct val="100000"/>
              </a:lnSpc>
              <a:spcBef>
                <a:spcPct val="0"/>
              </a:spcBef>
              <a:spcAft>
                <a:spcPct val="0"/>
              </a:spcAft>
              <a:buClrTx/>
              <a:buSzTx/>
              <a:buFont typeface="IBM Plex Sans Light"/>
              <a:buNone/>
              <a:tabLst/>
              <a:defRPr/>
            </a:pPr>
            <a:endParaRPr kumimoji="0" lang="en-US" sz="269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47AF77DC-1026-B3A2-7052-0CA4245A5F2A}"/>
              </a:ext>
            </a:extLst>
          </p:cNvPr>
          <p:cNvSpPr/>
          <p:nvPr/>
        </p:nvSpPr>
        <p:spPr bwMode="auto">
          <a:xfrm>
            <a:off x="3446166" y="3075396"/>
            <a:ext cx="2156397" cy="434824"/>
          </a:xfrm>
          <a:prstGeom prst="rect">
            <a:avLst/>
          </a:prstGeom>
          <a:solidFill>
            <a:srgbClr val="CFE1FF"/>
          </a:solidFill>
          <a:ln w="3175">
            <a:solidFill>
              <a:schemeClr val="tx1">
                <a:lumMod val="50000"/>
                <a:lumOff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Build</a:t>
            </a:r>
          </a:p>
        </p:txBody>
      </p:sp>
      <p:sp>
        <p:nvSpPr>
          <p:cNvPr id="11" name="Rectangle 10">
            <a:extLst>
              <a:ext uri="{FF2B5EF4-FFF2-40B4-BE49-F238E27FC236}">
                <a16:creationId xmlns:a16="http://schemas.microsoft.com/office/drawing/2014/main" id="{E238063E-C2DF-93D8-DB70-224537695E48}"/>
              </a:ext>
            </a:extLst>
          </p:cNvPr>
          <p:cNvSpPr/>
          <p:nvPr/>
        </p:nvSpPr>
        <p:spPr bwMode="auto">
          <a:xfrm>
            <a:off x="6171698" y="3075396"/>
            <a:ext cx="1890597" cy="434824"/>
          </a:xfrm>
          <a:prstGeom prst="rect">
            <a:avLst/>
          </a:prstGeom>
          <a:solidFill>
            <a:srgbClr val="CFE1FF"/>
          </a:solidFill>
          <a:ln w="3175">
            <a:solidFill>
              <a:schemeClr val="tx1">
                <a:lumMod val="50000"/>
                <a:lumOff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Run</a:t>
            </a:r>
          </a:p>
        </p:txBody>
      </p:sp>
      <p:sp>
        <p:nvSpPr>
          <p:cNvPr id="12" name="Rectangle 11">
            <a:extLst>
              <a:ext uri="{FF2B5EF4-FFF2-40B4-BE49-F238E27FC236}">
                <a16:creationId xmlns:a16="http://schemas.microsoft.com/office/drawing/2014/main" id="{7EBDBD55-915C-A569-6875-D8A2EACB6ABF}"/>
              </a:ext>
            </a:extLst>
          </p:cNvPr>
          <p:cNvSpPr/>
          <p:nvPr/>
        </p:nvSpPr>
        <p:spPr bwMode="auto">
          <a:xfrm>
            <a:off x="8672106" y="3075396"/>
            <a:ext cx="2169990" cy="434824"/>
          </a:xfrm>
          <a:prstGeom prst="rect">
            <a:avLst/>
          </a:prstGeom>
          <a:solidFill>
            <a:srgbClr val="CFE1FF"/>
          </a:solidFill>
          <a:ln w="3175">
            <a:solidFill>
              <a:schemeClr val="tx1">
                <a:lumMod val="50000"/>
                <a:lumOff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45710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Manage</a:t>
            </a:r>
          </a:p>
        </p:txBody>
      </p:sp>
      <p:sp>
        <p:nvSpPr>
          <p:cNvPr id="13" name="Rounded Rectangle 18">
            <a:extLst>
              <a:ext uri="{FF2B5EF4-FFF2-40B4-BE49-F238E27FC236}">
                <a16:creationId xmlns:a16="http://schemas.microsoft.com/office/drawing/2014/main" id="{3AE7C37D-CB3C-7276-CF30-662024ECA0EB}"/>
              </a:ext>
            </a:extLst>
          </p:cNvPr>
          <p:cNvSpPr/>
          <p:nvPr/>
        </p:nvSpPr>
        <p:spPr bwMode="auto">
          <a:xfrm>
            <a:off x="3345890" y="2775742"/>
            <a:ext cx="2824902" cy="174552"/>
          </a:xfrm>
          <a:prstGeom prst="roundRect">
            <a:avLst>
              <a:gd name="adj" fmla="val 0"/>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12189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65000"/>
                  </a:srgbClr>
                </a:solidFill>
                <a:effectLst/>
                <a:uLnTx/>
                <a:uFillTx/>
                <a:latin typeface="IBM Plex Sans" panose="020B0503050203000203" pitchFamily="34" charset="0"/>
                <a:ea typeface="+mn-ea"/>
                <a:cs typeface="+mn-cs"/>
              </a:rPr>
              <a:t>Agent Creation</a:t>
            </a:r>
          </a:p>
        </p:txBody>
      </p:sp>
      <p:sp>
        <p:nvSpPr>
          <p:cNvPr id="14" name="Rounded Rectangle 19">
            <a:extLst>
              <a:ext uri="{FF2B5EF4-FFF2-40B4-BE49-F238E27FC236}">
                <a16:creationId xmlns:a16="http://schemas.microsoft.com/office/drawing/2014/main" id="{9722B417-29A1-BDC0-7A09-56D99EE671F2}"/>
              </a:ext>
            </a:extLst>
          </p:cNvPr>
          <p:cNvSpPr/>
          <p:nvPr/>
        </p:nvSpPr>
        <p:spPr bwMode="auto">
          <a:xfrm>
            <a:off x="8130447" y="2775915"/>
            <a:ext cx="2811532" cy="212302"/>
          </a:xfrm>
          <a:prstGeom prst="roundRect">
            <a:avLst/>
          </a:prstGeom>
          <a:noFill/>
          <a:ln w="317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ctr" anchorCtr="0" compatLnSpc="1">
            <a:prstTxWarp prst="textNoShape">
              <a:avLst/>
            </a:prstTxWarp>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ctr" defTabSz="12189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lumMod val="65000"/>
                  </a:srgbClr>
                </a:solidFill>
                <a:effectLst/>
                <a:uLnTx/>
                <a:uFillTx/>
                <a:latin typeface="IBM Plex Sans" panose="020B0503050203000203" pitchFamily="34" charset="0"/>
                <a:ea typeface="+mn-ea"/>
                <a:cs typeface="+mn-cs"/>
              </a:rPr>
              <a:t>Agent Management</a:t>
            </a:r>
          </a:p>
        </p:txBody>
      </p:sp>
      <p:cxnSp>
        <p:nvCxnSpPr>
          <p:cNvPr id="21" name="Straight Arrow Connector 20">
            <a:extLst>
              <a:ext uri="{FF2B5EF4-FFF2-40B4-BE49-F238E27FC236}">
                <a16:creationId xmlns:a16="http://schemas.microsoft.com/office/drawing/2014/main" id="{C58CA29E-E682-FDA9-6E40-924A1F1CD695}"/>
              </a:ext>
            </a:extLst>
          </p:cNvPr>
          <p:cNvCxnSpPr>
            <a:cxnSpLocks/>
          </p:cNvCxnSpPr>
          <p:nvPr/>
        </p:nvCxnSpPr>
        <p:spPr bwMode="auto">
          <a:xfrm>
            <a:off x="5602563" y="3292809"/>
            <a:ext cx="569135" cy="0"/>
          </a:xfrm>
          <a:prstGeom prst="straightConnector1">
            <a:avLst/>
          </a:prstGeom>
          <a:ln w="12700">
            <a:solidFill>
              <a:schemeClr val="tx1"/>
            </a:solidFill>
            <a:prstDash val="dash"/>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A787BB13-DB79-B5D9-D6CB-E0874A2D5BE8}"/>
              </a:ext>
            </a:extLst>
          </p:cNvPr>
          <p:cNvCxnSpPr>
            <a:cxnSpLocks/>
          </p:cNvCxnSpPr>
          <p:nvPr/>
        </p:nvCxnSpPr>
        <p:spPr bwMode="auto">
          <a:xfrm>
            <a:off x="8062295" y="3292809"/>
            <a:ext cx="609811" cy="0"/>
          </a:xfrm>
          <a:prstGeom prst="straightConnector1">
            <a:avLst/>
          </a:prstGeom>
          <a:ln w="12700">
            <a:solidFill>
              <a:schemeClr val="tx1"/>
            </a:solidFill>
            <a:prstDash val="dash"/>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23" name="Elbow Connector 22">
            <a:extLst>
              <a:ext uri="{FF2B5EF4-FFF2-40B4-BE49-F238E27FC236}">
                <a16:creationId xmlns:a16="http://schemas.microsoft.com/office/drawing/2014/main" id="{C2FD55F2-5D09-B445-50AB-BD6D90D4DEF3}"/>
              </a:ext>
            </a:extLst>
          </p:cNvPr>
          <p:cNvCxnSpPr>
            <a:cxnSpLocks/>
          </p:cNvCxnSpPr>
          <p:nvPr/>
        </p:nvCxnSpPr>
        <p:spPr bwMode="auto">
          <a:xfrm flipH="1">
            <a:off x="3446167" y="3292809"/>
            <a:ext cx="7395930" cy="12700"/>
          </a:xfrm>
          <a:prstGeom prst="bentConnector5">
            <a:avLst>
              <a:gd name="adj1" fmla="val -3091"/>
              <a:gd name="adj2" fmla="val 3511906"/>
              <a:gd name="adj3" fmla="val 103091"/>
            </a:avLst>
          </a:prstGeom>
          <a:ln w="12700">
            <a:solidFill>
              <a:schemeClr val="tx1"/>
            </a:solidFill>
            <a:prstDash val="dash"/>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2FEE6A5E-8739-FD8C-42E7-144BD30DA328}"/>
              </a:ext>
            </a:extLst>
          </p:cNvPr>
          <p:cNvSpPr txBox="1"/>
          <p:nvPr/>
        </p:nvSpPr>
        <p:spPr>
          <a:xfrm>
            <a:off x="3570836" y="3752279"/>
            <a:ext cx="1106776" cy="5569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Model Support </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Tool Support</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Customization</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a:ea typeface="+mn-ea"/>
              <a:cs typeface="+mn-cs"/>
              <a:sym typeface="IBM Plex Sans Light"/>
            </a:endParaRPr>
          </a:p>
        </p:txBody>
      </p:sp>
      <p:sp>
        <p:nvSpPr>
          <p:cNvPr id="26" name="TextBox 25">
            <a:extLst>
              <a:ext uri="{FF2B5EF4-FFF2-40B4-BE49-F238E27FC236}">
                <a16:creationId xmlns:a16="http://schemas.microsoft.com/office/drawing/2014/main" id="{E02C5228-4FCF-E7E9-CEE4-7EB63A212776}"/>
              </a:ext>
            </a:extLst>
          </p:cNvPr>
          <p:cNvSpPr txBox="1"/>
          <p:nvPr/>
        </p:nvSpPr>
        <p:spPr>
          <a:xfrm>
            <a:off x="4614685" y="3737050"/>
            <a:ext cx="1473119" cy="5569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Agent Creation</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Templates</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000" b="1" i="0" u="none" strike="noStrike" kern="1200" cap="none" spc="0" normalizeH="0" baseline="0" noProof="0">
              <a:ln>
                <a:noFill/>
              </a:ln>
              <a:solidFill>
                <a:srgbClr val="000000"/>
              </a:solidFill>
              <a:effectLst/>
              <a:uLnTx/>
              <a:uFillTx/>
              <a:latin typeface="Arial" panose="020B0604020202020204"/>
              <a:ea typeface="+mn-ea"/>
              <a:cs typeface="+mn-cs"/>
              <a:sym typeface="IBM Plex Sans Light"/>
            </a:endParaRP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a:ea typeface="+mn-ea"/>
              <a:cs typeface="+mn-cs"/>
              <a:sym typeface="IBM Plex Sans Light"/>
            </a:endParaRPr>
          </a:p>
        </p:txBody>
      </p:sp>
      <p:sp>
        <p:nvSpPr>
          <p:cNvPr id="27" name="TextBox 26">
            <a:extLst>
              <a:ext uri="{FF2B5EF4-FFF2-40B4-BE49-F238E27FC236}">
                <a16:creationId xmlns:a16="http://schemas.microsoft.com/office/drawing/2014/main" id="{FA55E2CB-0B33-8F4C-DDBC-A72B66C8DEB4}"/>
              </a:ext>
            </a:extLst>
          </p:cNvPr>
          <p:cNvSpPr txBox="1"/>
          <p:nvPr/>
        </p:nvSpPr>
        <p:spPr>
          <a:xfrm>
            <a:off x="6465170" y="3729586"/>
            <a:ext cx="1473119" cy="5569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Agent onboarding and verification</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Deployment</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000" b="0" i="0" u="none" strike="noStrike" kern="0" cap="none" spc="0" normalizeH="0" baseline="0" noProof="0">
              <a:ln>
                <a:noFill/>
              </a:ln>
              <a:solidFill>
                <a:srgbClr val="000000"/>
              </a:solidFill>
              <a:effectLst/>
              <a:uLnTx/>
              <a:uFillTx/>
              <a:latin typeface="Arial" panose="020B0604020202020204"/>
              <a:ea typeface="+mn-ea"/>
              <a:cs typeface="+mn-cs"/>
              <a:sym typeface="IBM Plex Sans Light"/>
            </a:endParaRPr>
          </a:p>
        </p:txBody>
      </p:sp>
      <p:sp>
        <p:nvSpPr>
          <p:cNvPr id="28" name="TextBox 27">
            <a:extLst>
              <a:ext uri="{FF2B5EF4-FFF2-40B4-BE49-F238E27FC236}">
                <a16:creationId xmlns:a16="http://schemas.microsoft.com/office/drawing/2014/main" id="{D8BED8EA-D118-5F64-184D-FD608892D1EE}"/>
              </a:ext>
            </a:extLst>
          </p:cNvPr>
          <p:cNvSpPr txBox="1"/>
          <p:nvPr/>
        </p:nvSpPr>
        <p:spPr>
          <a:xfrm>
            <a:off x="8911209" y="3733053"/>
            <a:ext cx="1707394" cy="5569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rtlCol="0">
            <a:no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Monitoring and alerts</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sym typeface="IBM Plex Sans Light"/>
              </a:rPr>
              <a:t>Auditability</a:t>
            </a:r>
          </a:p>
          <a:p>
            <a:pPr marL="85708" marR="0" lvl="0" indent="-85708" algn="l" defTabSz="1218956"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a:ea typeface="+mn-ea"/>
                <a:cs typeface="+mn-cs"/>
                <a:sym typeface="IBM Plex Sans Light"/>
              </a:rPr>
              <a:t>Optimizations</a:t>
            </a:r>
          </a:p>
        </p:txBody>
      </p:sp>
      <p:cxnSp>
        <p:nvCxnSpPr>
          <p:cNvPr id="30" name="Straight Connector 29">
            <a:extLst>
              <a:ext uri="{FF2B5EF4-FFF2-40B4-BE49-F238E27FC236}">
                <a16:creationId xmlns:a16="http://schemas.microsoft.com/office/drawing/2014/main" id="{299DB46D-88B4-B0BE-3BFB-6363F5303F17}"/>
              </a:ext>
            </a:extLst>
          </p:cNvPr>
          <p:cNvCxnSpPr>
            <a:cxnSpLocks/>
          </p:cNvCxnSpPr>
          <p:nvPr/>
        </p:nvCxnSpPr>
        <p:spPr bwMode="auto">
          <a:xfrm>
            <a:off x="4390088"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448D0401-9D1A-D723-6F64-25650C17F75F}"/>
              </a:ext>
            </a:extLst>
          </p:cNvPr>
          <p:cNvSpPr txBox="1"/>
          <p:nvPr/>
        </p:nvSpPr>
        <p:spPr>
          <a:xfrm>
            <a:off x="3165322" y="4408068"/>
            <a:ext cx="1022098"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Model </a:t>
            </a:r>
          </a:p>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Support </a:t>
            </a:r>
          </a:p>
        </p:txBody>
      </p:sp>
      <p:pic>
        <p:nvPicPr>
          <p:cNvPr id="32" name="Picture 8" descr="huggingface/brand-assets at main">
            <a:extLst>
              <a:ext uri="{FF2B5EF4-FFF2-40B4-BE49-F238E27FC236}">
                <a16:creationId xmlns:a16="http://schemas.microsoft.com/office/drawing/2014/main" id="{00FCFE43-F4F5-6882-2649-D9EF385A46E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72561" b="7184"/>
          <a:stretch/>
        </p:blipFill>
        <p:spPr bwMode="auto">
          <a:xfrm>
            <a:off x="4041123" y="4848548"/>
            <a:ext cx="266207" cy="239391"/>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6C6803B2-8AFF-C4C3-E660-5ED100362BF1}"/>
              </a:ext>
            </a:extLst>
          </p:cNvPr>
          <p:cNvSpPr txBox="1"/>
          <p:nvPr/>
        </p:nvSpPr>
        <p:spPr>
          <a:xfrm>
            <a:off x="3203986" y="5185897"/>
            <a:ext cx="1186947" cy="887422"/>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91440" tIns="45720" rIns="91440" bIns="45720" anchor="t">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 Custom model import</a:t>
            </a: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120015" marR="0" lvl="0" indent="-120015"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panose="020B0604020202020204"/>
                <a:ea typeface="+mn-ea"/>
                <a:cs typeface="+mn-cs"/>
              </a:rPr>
              <a:t>1000+ SOTA </a:t>
            </a: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models</a:t>
            </a:r>
          </a:p>
          <a:p>
            <a:pPr marL="170815" marR="0" lvl="0" indent="-170815"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34" name="Picture 33" descr="A blue infinity symbol on a black background&#10;&#10;Description automatically generated">
            <a:extLst>
              <a:ext uri="{FF2B5EF4-FFF2-40B4-BE49-F238E27FC236}">
                <a16:creationId xmlns:a16="http://schemas.microsoft.com/office/drawing/2014/main" id="{3A5F9F8E-747E-6956-BB82-34834487ED94}"/>
              </a:ext>
            </a:extLst>
          </p:cNvPr>
          <p:cNvPicPr>
            <a:picLocks noChangeAspect="1"/>
          </p:cNvPicPr>
          <p:nvPr/>
        </p:nvPicPr>
        <p:blipFill rotWithShape="1">
          <a:blip r:embed="rId3"/>
          <a:srcRect l="27021" t="26365" r="27418" b="18802"/>
          <a:stretch/>
        </p:blipFill>
        <p:spPr>
          <a:xfrm>
            <a:off x="3248762" y="4891583"/>
            <a:ext cx="254431" cy="172296"/>
          </a:xfrm>
          <a:prstGeom prst="rect">
            <a:avLst/>
          </a:prstGeom>
        </p:spPr>
      </p:pic>
      <p:pic>
        <p:nvPicPr>
          <p:cNvPr id="35" name="Picture 34" descr="A green and blue cube&#10;&#10;Description automatically generated">
            <a:extLst>
              <a:ext uri="{FF2B5EF4-FFF2-40B4-BE49-F238E27FC236}">
                <a16:creationId xmlns:a16="http://schemas.microsoft.com/office/drawing/2014/main" id="{CB345D81-83AA-B418-B669-59B33CBF7EE0}"/>
              </a:ext>
            </a:extLst>
          </p:cNvPr>
          <p:cNvPicPr>
            <a:picLocks noChangeAspect="1"/>
          </p:cNvPicPr>
          <p:nvPr/>
        </p:nvPicPr>
        <p:blipFill>
          <a:blip r:embed="rId4"/>
          <a:stretch>
            <a:fillRect/>
          </a:stretch>
        </p:blipFill>
        <p:spPr>
          <a:xfrm>
            <a:off x="3546716" y="4851483"/>
            <a:ext cx="239391" cy="239391"/>
          </a:xfrm>
          <a:prstGeom prst="rect">
            <a:avLst/>
          </a:prstGeom>
        </p:spPr>
      </p:pic>
      <p:pic>
        <p:nvPicPr>
          <p:cNvPr id="36" name="Picture 35" descr="A red and yellow rectangle on a black background&#10;&#10;Description automatically generated">
            <a:extLst>
              <a:ext uri="{FF2B5EF4-FFF2-40B4-BE49-F238E27FC236}">
                <a16:creationId xmlns:a16="http://schemas.microsoft.com/office/drawing/2014/main" id="{5BD83A45-9CEC-7A58-D242-F97170F26AD0}"/>
              </a:ext>
            </a:extLst>
          </p:cNvPr>
          <p:cNvPicPr>
            <a:picLocks noChangeAspect="1"/>
          </p:cNvPicPr>
          <p:nvPr/>
        </p:nvPicPr>
        <p:blipFill>
          <a:blip r:embed="rId5"/>
          <a:srcRect l="1" r="68399" b="6250"/>
          <a:stretch/>
        </p:blipFill>
        <p:spPr>
          <a:xfrm>
            <a:off x="3832082" y="4876224"/>
            <a:ext cx="206420" cy="199493"/>
          </a:xfrm>
          <a:prstGeom prst="rect">
            <a:avLst/>
          </a:prstGeom>
        </p:spPr>
      </p:pic>
      <p:sp>
        <p:nvSpPr>
          <p:cNvPr id="38" name="TextBox 37">
            <a:extLst>
              <a:ext uri="{FF2B5EF4-FFF2-40B4-BE49-F238E27FC236}">
                <a16:creationId xmlns:a16="http://schemas.microsoft.com/office/drawing/2014/main" id="{B37DA6F0-73D1-308B-E788-442811254D06}"/>
              </a:ext>
            </a:extLst>
          </p:cNvPr>
          <p:cNvSpPr txBox="1"/>
          <p:nvPr/>
        </p:nvSpPr>
        <p:spPr>
          <a:xfrm>
            <a:off x="4416951" y="4396863"/>
            <a:ext cx="1245799"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Model Customization</a:t>
            </a:r>
          </a:p>
        </p:txBody>
      </p:sp>
      <p:sp>
        <p:nvSpPr>
          <p:cNvPr id="39" name="TextBox 38">
            <a:extLst>
              <a:ext uri="{FF2B5EF4-FFF2-40B4-BE49-F238E27FC236}">
                <a16:creationId xmlns:a16="http://schemas.microsoft.com/office/drawing/2014/main" id="{F31A096F-99BE-1604-6AE8-1C70C2D2708E}"/>
              </a:ext>
            </a:extLst>
          </p:cNvPr>
          <p:cNvSpPr txBox="1"/>
          <p:nvPr/>
        </p:nvSpPr>
        <p:spPr>
          <a:xfrm>
            <a:off x="4437106" y="5197103"/>
            <a:ext cx="1291942" cy="111825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40" tIns="45720" rIns="91440" bIns="45720" anchor="t">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Prompt engineering</a:t>
            </a:r>
          </a:p>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Prompt tuning </a:t>
            </a:r>
          </a:p>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Full fine-tuning</a:t>
            </a:r>
          </a:p>
          <a:p>
            <a:pPr marL="120015" marR="0" lvl="0" indent="-120015"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PEFT</a:t>
            </a:r>
          </a:p>
          <a:p>
            <a:pPr marL="120015" marR="0" lvl="0" indent="-120015"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err="1">
                <a:ln>
                  <a:noFill/>
                </a:ln>
                <a:solidFill>
                  <a:srgbClr val="000000"/>
                </a:solidFill>
                <a:effectLst/>
                <a:uLnTx/>
                <a:uFillTx/>
                <a:latin typeface="Arial" panose="020B0604020202020204"/>
                <a:ea typeface="+mn-ea"/>
                <a:cs typeface="+mn-cs"/>
              </a:rPr>
              <a:t>InstructLab</a:t>
            </a:r>
            <a:endParaRPr kumimoji="0" lang="en-GB"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40" name="Picture 39" descr="A white dog with glasses&#10;&#10;Description automatically generated">
            <a:extLst>
              <a:ext uri="{FF2B5EF4-FFF2-40B4-BE49-F238E27FC236}">
                <a16:creationId xmlns:a16="http://schemas.microsoft.com/office/drawing/2014/main" id="{4FF64B18-E651-4D5F-2B7F-97783E38CBEC}"/>
              </a:ext>
            </a:extLst>
          </p:cNvPr>
          <p:cNvPicPr>
            <a:picLocks noChangeAspect="1"/>
          </p:cNvPicPr>
          <p:nvPr/>
        </p:nvPicPr>
        <p:blipFill rotWithShape="1">
          <a:blip r:embed="rId6"/>
          <a:srcRect t="16657" b="14650"/>
          <a:stretch/>
        </p:blipFill>
        <p:spPr>
          <a:xfrm>
            <a:off x="4502003" y="4851307"/>
            <a:ext cx="343552" cy="235997"/>
          </a:xfrm>
          <a:prstGeom prst="rect">
            <a:avLst/>
          </a:prstGeom>
        </p:spPr>
      </p:pic>
      <p:sp>
        <p:nvSpPr>
          <p:cNvPr id="42" name="TextBox 41">
            <a:extLst>
              <a:ext uri="{FF2B5EF4-FFF2-40B4-BE49-F238E27FC236}">
                <a16:creationId xmlns:a16="http://schemas.microsoft.com/office/drawing/2014/main" id="{13D448F1-1F1A-E962-C576-51D19CF31A02}"/>
              </a:ext>
            </a:extLst>
          </p:cNvPr>
          <p:cNvSpPr txBox="1"/>
          <p:nvPr/>
        </p:nvSpPr>
        <p:spPr>
          <a:xfrm>
            <a:off x="5682864" y="4396863"/>
            <a:ext cx="1081234"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Agent Frameworks</a:t>
            </a:r>
          </a:p>
        </p:txBody>
      </p:sp>
      <p:pic>
        <p:nvPicPr>
          <p:cNvPr id="43" name="Picture 42">
            <a:extLst>
              <a:ext uri="{FF2B5EF4-FFF2-40B4-BE49-F238E27FC236}">
                <a16:creationId xmlns:a16="http://schemas.microsoft.com/office/drawing/2014/main" id="{8B9792D7-D9F0-81BC-5055-D7FFB93DAC26}"/>
              </a:ext>
            </a:extLst>
          </p:cNvPr>
          <p:cNvPicPr>
            <a:picLocks noChangeAspect="1"/>
          </p:cNvPicPr>
          <p:nvPr/>
        </p:nvPicPr>
        <p:blipFill>
          <a:blip r:embed="rId7"/>
          <a:stretch>
            <a:fillRect/>
          </a:stretch>
        </p:blipFill>
        <p:spPr>
          <a:xfrm>
            <a:off x="5779004" y="4848303"/>
            <a:ext cx="226375" cy="220290"/>
          </a:xfrm>
          <a:prstGeom prst="rect">
            <a:avLst/>
          </a:prstGeom>
        </p:spPr>
      </p:pic>
      <p:pic>
        <p:nvPicPr>
          <p:cNvPr id="44" name="Picture 43" descr="MindsDB Conf 2023 - an Applied AI conference for Developers">
            <a:extLst>
              <a:ext uri="{FF2B5EF4-FFF2-40B4-BE49-F238E27FC236}">
                <a16:creationId xmlns:a16="http://schemas.microsoft.com/office/drawing/2014/main" id="{D0938EB3-801E-881B-9BAB-9379E3D31A1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7165" t="24486" b="11766"/>
          <a:stretch/>
        </p:blipFill>
        <p:spPr bwMode="auto">
          <a:xfrm>
            <a:off x="6542141" y="4944259"/>
            <a:ext cx="568822" cy="18577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descr="agent.ai | The Professional Network for AI Agents">
            <a:extLst>
              <a:ext uri="{FF2B5EF4-FFF2-40B4-BE49-F238E27FC236}">
                <a16:creationId xmlns:a16="http://schemas.microsoft.com/office/drawing/2014/main" id="{2EE78F16-2703-774E-B89E-2C664FA0F72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63554" y="4777691"/>
            <a:ext cx="521075" cy="17966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descr="A black background with blue letters&#10;&#10;Description automatically generated">
            <a:extLst>
              <a:ext uri="{FF2B5EF4-FFF2-40B4-BE49-F238E27FC236}">
                <a16:creationId xmlns:a16="http://schemas.microsoft.com/office/drawing/2014/main" id="{61D72462-3D51-F4BB-C925-006136B9529C}"/>
              </a:ext>
            </a:extLst>
          </p:cNvPr>
          <p:cNvPicPr>
            <a:picLocks noChangeAspect="1"/>
          </p:cNvPicPr>
          <p:nvPr/>
        </p:nvPicPr>
        <p:blipFill rotWithShape="1">
          <a:blip r:embed="rId10"/>
          <a:srcRect r="68491" b="44"/>
          <a:stretch/>
        </p:blipFill>
        <p:spPr>
          <a:xfrm>
            <a:off x="6060566" y="4851728"/>
            <a:ext cx="432476" cy="216507"/>
          </a:xfrm>
          <a:prstGeom prst="rect">
            <a:avLst/>
          </a:prstGeom>
        </p:spPr>
      </p:pic>
      <p:sp>
        <p:nvSpPr>
          <p:cNvPr id="47" name="TextBox 46">
            <a:extLst>
              <a:ext uri="{FF2B5EF4-FFF2-40B4-BE49-F238E27FC236}">
                <a16:creationId xmlns:a16="http://schemas.microsoft.com/office/drawing/2014/main" id="{598E5855-9EE2-7AAA-2B87-510D5E14AE46}"/>
              </a:ext>
            </a:extLst>
          </p:cNvPr>
          <p:cNvSpPr txBox="1"/>
          <p:nvPr/>
        </p:nvSpPr>
        <p:spPr>
          <a:xfrm>
            <a:off x="5716483" y="5197102"/>
            <a:ext cx="1437595"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114277" marR="0" lvl="0" indent="-114277"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Enabling Python based frameworks</a:t>
            </a:r>
          </a:p>
        </p:txBody>
      </p:sp>
      <p:sp>
        <p:nvSpPr>
          <p:cNvPr id="49" name="TextBox 48">
            <a:extLst>
              <a:ext uri="{FF2B5EF4-FFF2-40B4-BE49-F238E27FC236}">
                <a16:creationId xmlns:a16="http://schemas.microsoft.com/office/drawing/2014/main" id="{51274F3F-D69D-68BC-7A43-307BCBCA1971}"/>
              </a:ext>
            </a:extLst>
          </p:cNvPr>
          <p:cNvSpPr txBox="1"/>
          <p:nvPr/>
        </p:nvSpPr>
        <p:spPr>
          <a:xfrm>
            <a:off x="7230013" y="4396863"/>
            <a:ext cx="707214"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Tool Support</a:t>
            </a:r>
          </a:p>
        </p:txBody>
      </p:sp>
      <p:sp>
        <p:nvSpPr>
          <p:cNvPr id="50" name="TextBox 49">
            <a:extLst>
              <a:ext uri="{FF2B5EF4-FFF2-40B4-BE49-F238E27FC236}">
                <a16:creationId xmlns:a16="http://schemas.microsoft.com/office/drawing/2014/main" id="{ECE3D443-3E0B-A674-8D14-3630AF76CB3D}"/>
              </a:ext>
            </a:extLst>
          </p:cNvPr>
          <p:cNvSpPr txBox="1"/>
          <p:nvPr/>
        </p:nvSpPr>
        <p:spPr>
          <a:xfrm>
            <a:off x="7241217" y="5163486"/>
            <a:ext cx="1605028" cy="122084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114277" marR="0" lvl="0" indent="-114277"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Pre-built, 3rd-party custom tools</a:t>
            </a:r>
          </a:p>
          <a:p>
            <a:pPr marL="114277" marR="0" lvl="0" indent="-114277" algn="l" defTabSz="1218926" rtl="0" eaLnBrk="1" fontAlgn="base" latinLnBrk="0" hangingPunct="1">
              <a:lnSpc>
                <a:spcPct val="100000"/>
              </a:lnSpc>
              <a:spcBef>
                <a:spcPct val="0"/>
              </a:spcBef>
              <a:spcAft>
                <a:spcPts val="15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000000"/>
                </a:solidFill>
                <a:effectLst/>
                <a:uLnTx/>
                <a:uFillTx/>
                <a:latin typeface="Arial" panose="020B0604020202020204"/>
                <a:ea typeface="+mn-ea"/>
                <a:cs typeface="+mn-cs"/>
              </a:rPr>
              <a:t>Model context  protocol (MCP)</a:t>
            </a: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a:p>
            <a:pPr marL="114277" marR="0" lvl="0" indent="-114277"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00" b="1" i="0" u="none" strike="noStrike" kern="1200" cap="none" spc="0" normalizeH="0" baseline="0" noProof="0">
                <a:ln>
                  <a:noFill/>
                </a:ln>
                <a:solidFill>
                  <a:srgbClr val="000000"/>
                </a:solidFill>
                <a:effectLst/>
                <a:uLnTx/>
                <a:uFillTx/>
                <a:latin typeface="Arial" panose="020B0604020202020204"/>
                <a:ea typeface="+mn-ea"/>
                <a:cs typeface="+mn-cs"/>
              </a:rPr>
              <a:t>1500+ prebuilt skills </a:t>
            </a:r>
            <a:r>
              <a:rPr kumimoji="0" lang="en-US" altLang="en-US" sz="1000" b="0" i="0" u="none" strike="noStrike" kern="1200" cap="none" spc="0" normalizeH="0" baseline="0" noProof="0">
                <a:ln>
                  <a:noFill/>
                </a:ln>
                <a:solidFill>
                  <a:srgbClr val="000000"/>
                </a:solidFill>
                <a:effectLst/>
                <a:uLnTx/>
                <a:uFillTx/>
                <a:latin typeface="Arial" panose="020B0604020202020204"/>
                <a:ea typeface="+mn-ea"/>
                <a:cs typeface="+mn-cs"/>
              </a:rPr>
              <a:t>in watsonx Orchestrate</a:t>
            </a:r>
          </a:p>
          <a:p>
            <a:pPr marL="171416" marR="0" lvl="0" indent="-171416" algn="l" defTabSz="1218926"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1" name="Group 50">
            <a:extLst>
              <a:ext uri="{FF2B5EF4-FFF2-40B4-BE49-F238E27FC236}">
                <a16:creationId xmlns:a16="http://schemas.microsoft.com/office/drawing/2014/main" id="{FA4CB279-CA22-964F-5135-88F3DF620786}"/>
              </a:ext>
            </a:extLst>
          </p:cNvPr>
          <p:cNvGrpSpPr/>
          <p:nvPr/>
        </p:nvGrpSpPr>
        <p:grpSpPr>
          <a:xfrm>
            <a:off x="8492389" y="4868835"/>
            <a:ext cx="328105" cy="161855"/>
            <a:chOff x="15339641" y="1138263"/>
            <a:chExt cx="902250" cy="445082"/>
          </a:xfrm>
        </p:grpSpPr>
        <p:sp>
          <p:nvSpPr>
            <p:cNvPr id="52" name="Freeform 97">
              <a:extLst>
                <a:ext uri="{FF2B5EF4-FFF2-40B4-BE49-F238E27FC236}">
                  <a16:creationId xmlns:a16="http://schemas.microsoft.com/office/drawing/2014/main" id="{6C281C88-4147-2A05-CB5B-9573B6EEE6D9}"/>
                </a:ext>
              </a:extLst>
            </p:cNvPr>
            <p:cNvSpPr/>
            <p:nvPr/>
          </p:nvSpPr>
          <p:spPr>
            <a:xfrm>
              <a:off x="15339641" y="1138263"/>
              <a:ext cx="902250" cy="445082"/>
            </a:xfrm>
            <a:custGeom>
              <a:avLst/>
              <a:gdLst>
                <a:gd name="connsiteX0" fmla="*/ 451125 w 451125"/>
                <a:gd name="connsiteY0" fmla="*/ 0 h 222541"/>
                <a:gd name="connsiteX1" fmla="*/ 0 w 451125"/>
                <a:gd name="connsiteY1" fmla="*/ 0 h 222541"/>
                <a:gd name="connsiteX2" fmla="*/ 0 w 451125"/>
                <a:gd name="connsiteY2" fmla="*/ 222541 h 222541"/>
                <a:gd name="connsiteX3" fmla="*/ 228041 w 451125"/>
                <a:gd name="connsiteY3" fmla="*/ 222541 h 222541"/>
              </a:gdLst>
              <a:ahLst/>
              <a:cxnLst>
                <a:cxn ang="0">
                  <a:pos x="connsiteX0" y="connsiteY0"/>
                </a:cxn>
                <a:cxn ang="0">
                  <a:pos x="connsiteX1" y="connsiteY1"/>
                </a:cxn>
                <a:cxn ang="0">
                  <a:pos x="connsiteX2" y="connsiteY2"/>
                </a:cxn>
                <a:cxn ang="0">
                  <a:pos x="connsiteX3" y="connsiteY3"/>
                </a:cxn>
              </a:cxnLst>
              <a:rect l="l" t="t" r="r" b="b"/>
              <a:pathLst>
                <a:path w="451125" h="222541">
                  <a:moveTo>
                    <a:pt x="451125" y="0"/>
                  </a:moveTo>
                  <a:lnTo>
                    <a:pt x="0" y="0"/>
                  </a:lnTo>
                  <a:lnTo>
                    <a:pt x="0" y="222541"/>
                  </a:lnTo>
                  <a:lnTo>
                    <a:pt x="228041" y="222541"/>
                  </a:lnTo>
                </a:path>
              </a:pathLst>
            </a:custGeom>
            <a:gradFill>
              <a:gsLst>
                <a:gs pos="0">
                  <a:srgbClr val="00AAEE"/>
                </a:gs>
                <a:gs pos="50000">
                  <a:srgbClr val="007FCC"/>
                </a:gs>
                <a:gs pos="100000">
                  <a:srgbClr val="0055AA"/>
                </a:gs>
              </a:gsLst>
              <a:lin ang="5400000" scaled="1"/>
            </a:gradFill>
            <a:ln w="984"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53" name="Freeform 98">
              <a:extLst>
                <a:ext uri="{FF2B5EF4-FFF2-40B4-BE49-F238E27FC236}">
                  <a16:creationId xmlns:a16="http://schemas.microsoft.com/office/drawing/2014/main" id="{81E5C46D-E483-9553-AE4C-C402898004A7}"/>
                </a:ext>
              </a:extLst>
            </p:cNvPr>
            <p:cNvSpPr/>
            <p:nvPr/>
          </p:nvSpPr>
          <p:spPr>
            <a:xfrm>
              <a:off x="15401599" y="1206245"/>
              <a:ext cx="648430" cy="282874"/>
            </a:xfrm>
            <a:custGeom>
              <a:avLst/>
              <a:gdLst>
                <a:gd name="connsiteX0" fmla="*/ 217135 w 324215"/>
                <a:gd name="connsiteY0" fmla="*/ 2967 h 141437"/>
                <a:gd name="connsiteX1" fmla="*/ 217135 w 324215"/>
                <a:gd name="connsiteY1" fmla="*/ 107809 h 141437"/>
                <a:gd name="connsiteX2" fmla="*/ 178467 w 324215"/>
                <a:gd name="connsiteY2" fmla="*/ 2967 h 141437"/>
                <a:gd name="connsiteX3" fmla="*/ 139799 w 324215"/>
                <a:gd name="connsiteY3" fmla="*/ 2967 h 141437"/>
                <a:gd name="connsiteX4" fmla="*/ 107080 w 324215"/>
                <a:gd name="connsiteY4" fmla="*/ 90005 h 141437"/>
                <a:gd name="connsiteX5" fmla="*/ 62463 w 324215"/>
                <a:gd name="connsiteY5" fmla="*/ 54399 h 141437"/>
                <a:gd name="connsiteX6" fmla="*/ 37676 w 324215"/>
                <a:gd name="connsiteY6" fmla="*/ 38574 h 141437"/>
                <a:gd name="connsiteX7" fmla="*/ 57506 w 324215"/>
                <a:gd name="connsiteY7" fmla="*/ 29672 h 141437"/>
                <a:gd name="connsiteX8" fmla="*/ 90225 w 324215"/>
                <a:gd name="connsiteY8" fmla="*/ 38574 h 141437"/>
                <a:gd name="connsiteX9" fmla="*/ 106089 w 324215"/>
                <a:gd name="connsiteY9" fmla="*/ 11869 h 141437"/>
                <a:gd name="connsiteX10" fmla="*/ 55523 w 324215"/>
                <a:gd name="connsiteY10" fmla="*/ 0 h 141437"/>
                <a:gd name="connsiteX11" fmla="*/ 10906 w 324215"/>
                <a:gd name="connsiteY11" fmla="*/ 15825 h 141437"/>
                <a:gd name="connsiteX12" fmla="*/ 0 w 324215"/>
                <a:gd name="connsiteY12" fmla="*/ 41541 h 141437"/>
                <a:gd name="connsiteX13" fmla="*/ 15864 w 324215"/>
                <a:gd name="connsiteY13" fmla="*/ 73191 h 141437"/>
                <a:gd name="connsiteX14" fmla="*/ 45608 w 324215"/>
                <a:gd name="connsiteY14" fmla="*/ 86049 h 141437"/>
                <a:gd name="connsiteX15" fmla="*/ 68412 w 324215"/>
                <a:gd name="connsiteY15" fmla="*/ 100885 h 141437"/>
                <a:gd name="connsiteX16" fmla="*/ 50566 w 324215"/>
                <a:gd name="connsiteY16" fmla="*/ 111765 h 141437"/>
                <a:gd name="connsiteX17" fmla="*/ 13881 w 324215"/>
                <a:gd name="connsiteY17" fmla="*/ 101874 h 141437"/>
                <a:gd name="connsiteX18" fmla="*/ 0 w 324215"/>
                <a:gd name="connsiteY18" fmla="*/ 128579 h 141437"/>
                <a:gd name="connsiteX19" fmla="*/ 49574 w 324215"/>
                <a:gd name="connsiteY19" fmla="*/ 141437 h 141437"/>
                <a:gd name="connsiteX20" fmla="*/ 93199 w 324215"/>
                <a:gd name="connsiteY20" fmla="*/ 127590 h 141437"/>
                <a:gd name="connsiteX21" fmla="*/ 91216 w 324215"/>
                <a:gd name="connsiteY21" fmla="*/ 136492 h 141437"/>
                <a:gd name="connsiteX22" fmla="*/ 128893 w 324215"/>
                <a:gd name="connsiteY22" fmla="*/ 136492 h 141437"/>
                <a:gd name="connsiteX23" fmla="*/ 135833 w 324215"/>
                <a:gd name="connsiteY23" fmla="*/ 119678 h 141437"/>
                <a:gd name="connsiteX24" fmla="*/ 182433 w 324215"/>
                <a:gd name="connsiteY24" fmla="*/ 119678 h 141437"/>
                <a:gd name="connsiteX25" fmla="*/ 187390 w 324215"/>
                <a:gd name="connsiteY25" fmla="*/ 136492 h 141437"/>
                <a:gd name="connsiteX26" fmla="*/ 254811 w 324215"/>
                <a:gd name="connsiteY26" fmla="*/ 136492 h 141437"/>
                <a:gd name="connsiteX27" fmla="*/ 254811 w 324215"/>
                <a:gd name="connsiteY27" fmla="*/ 96929 h 141437"/>
                <a:gd name="connsiteX28" fmla="*/ 268692 w 324215"/>
                <a:gd name="connsiteY28" fmla="*/ 96929 h 141437"/>
                <a:gd name="connsiteX29" fmla="*/ 324215 w 324215"/>
                <a:gd name="connsiteY29" fmla="*/ 50443 h 141437"/>
                <a:gd name="connsiteX30" fmla="*/ 261752 w 324215"/>
                <a:gd name="connsiteY30" fmla="*/ 2967 h 141437"/>
                <a:gd name="connsiteX31" fmla="*/ 144757 w 324215"/>
                <a:gd name="connsiteY31" fmla="*/ 90005 h 141437"/>
                <a:gd name="connsiteX32" fmla="*/ 158637 w 324215"/>
                <a:gd name="connsiteY32" fmla="*/ 45497 h 141437"/>
                <a:gd name="connsiteX33" fmla="*/ 159629 w 324215"/>
                <a:gd name="connsiteY33" fmla="*/ 45497 h 141437"/>
                <a:gd name="connsiteX34" fmla="*/ 173510 w 324215"/>
                <a:gd name="connsiteY34" fmla="*/ 90005 h 141437"/>
                <a:gd name="connsiteX35" fmla="*/ 144757 w 324215"/>
                <a:gd name="connsiteY35" fmla="*/ 90005 h 141437"/>
                <a:gd name="connsiteX36" fmla="*/ 254811 w 324215"/>
                <a:gd name="connsiteY36" fmla="*/ 67257 h 141437"/>
                <a:gd name="connsiteX37" fmla="*/ 254811 w 324215"/>
                <a:gd name="connsiteY37" fmla="*/ 31650 h 141437"/>
                <a:gd name="connsiteX38" fmla="*/ 264726 w 324215"/>
                <a:gd name="connsiteY38" fmla="*/ 31650 h 141437"/>
                <a:gd name="connsiteX39" fmla="*/ 287530 w 324215"/>
                <a:gd name="connsiteY39" fmla="*/ 48464 h 141437"/>
                <a:gd name="connsiteX40" fmla="*/ 264726 w 324215"/>
                <a:gd name="connsiteY40" fmla="*/ 67257 h 14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4215" h="141437">
                  <a:moveTo>
                    <a:pt x="217135" y="2967"/>
                  </a:moveTo>
                  <a:lnTo>
                    <a:pt x="217135" y="107809"/>
                  </a:lnTo>
                  <a:lnTo>
                    <a:pt x="178467" y="2967"/>
                  </a:lnTo>
                  <a:lnTo>
                    <a:pt x="139799" y="2967"/>
                  </a:lnTo>
                  <a:lnTo>
                    <a:pt x="107080" y="90005"/>
                  </a:lnTo>
                  <a:cubicBezTo>
                    <a:pt x="103114" y="68246"/>
                    <a:pt x="80310" y="60333"/>
                    <a:pt x="62463" y="54399"/>
                  </a:cubicBezTo>
                  <a:cubicBezTo>
                    <a:pt x="50566" y="50443"/>
                    <a:pt x="37676" y="45497"/>
                    <a:pt x="37676" y="38574"/>
                  </a:cubicBezTo>
                  <a:cubicBezTo>
                    <a:pt x="37676" y="33628"/>
                    <a:pt x="44617" y="28683"/>
                    <a:pt x="57506" y="29672"/>
                  </a:cubicBezTo>
                  <a:cubicBezTo>
                    <a:pt x="66429" y="30661"/>
                    <a:pt x="74361" y="30661"/>
                    <a:pt x="90225" y="38574"/>
                  </a:cubicBezTo>
                  <a:lnTo>
                    <a:pt x="106089" y="11869"/>
                  </a:lnTo>
                  <a:cubicBezTo>
                    <a:pt x="91216" y="3956"/>
                    <a:pt x="71387" y="0"/>
                    <a:pt x="55523" y="0"/>
                  </a:cubicBezTo>
                  <a:cubicBezTo>
                    <a:pt x="36685" y="0"/>
                    <a:pt x="20821" y="5934"/>
                    <a:pt x="10906" y="15825"/>
                  </a:cubicBezTo>
                  <a:cubicBezTo>
                    <a:pt x="3966" y="22749"/>
                    <a:pt x="991" y="31650"/>
                    <a:pt x="0" y="41541"/>
                  </a:cubicBezTo>
                  <a:cubicBezTo>
                    <a:pt x="0" y="55388"/>
                    <a:pt x="4957" y="65279"/>
                    <a:pt x="15864" y="73191"/>
                  </a:cubicBezTo>
                  <a:cubicBezTo>
                    <a:pt x="24787" y="79126"/>
                    <a:pt x="35693" y="83082"/>
                    <a:pt x="45608" y="86049"/>
                  </a:cubicBezTo>
                  <a:cubicBezTo>
                    <a:pt x="58498" y="90005"/>
                    <a:pt x="68412" y="93962"/>
                    <a:pt x="68412" y="100885"/>
                  </a:cubicBezTo>
                  <a:cubicBezTo>
                    <a:pt x="67421" y="109787"/>
                    <a:pt x="57506" y="111765"/>
                    <a:pt x="50566" y="111765"/>
                  </a:cubicBezTo>
                  <a:cubicBezTo>
                    <a:pt x="38668" y="112754"/>
                    <a:pt x="28753" y="110776"/>
                    <a:pt x="13881" y="101874"/>
                  </a:cubicBezTo>
                  <a:lnTo>
                    <a:pt x="0" y="128579"/>
                  </a:lnTo>
                  <a:cubicBezTo>
                    <a:pt x="14872" y="137481"/>
                    <a:pt x="30736" y="141437"/>
                    <a:pt x="49574" y="141437"/>
                  </a:cubicBezTo>
                  <a:cubicBezTo>
                    <a:pt x="62463" y="141437"/>
                    <a:pt x="82293" y="137481"/>
                    <a:pt x="93199" y="127590"/>
                  </a:cubicBezTo>
                  <a:lnTo>
                    <a:pt x="91216" y="136492"/>
                  </a:lnTo>
                  <a:lnTo>
                    <a:pt x="128893" y="136492"/>
                  </a:lnTo>
                  <a:lnTo>
                    <a:pt x="135833" y="119678"/>
                  </a:lnTo>
                  <a:cubicBezTo>
                    <a:pt x="150706" y="123634"/>
                    <a:pt x="167561" y="124623"/>
                    <a:pt x="182433" y="119678"/>
                  </a:cubicBezTo>
                  <a:lnTo>
                    <a:pt x="187390" y="136492"/>
                  </a:lnTo>
                  <a:lnTo>
                    <a:pt x="254811" y="136492"/>
                  </a:lnTo>
                  <a:lnTo>
                    <a:pt x="254811" y="96929"/>
                  </a:lnTo>
                  <a:lnTo>
                    <a:pt x="268692" y="96929"/>
                  </a:lnTo>
                  <a:cubicBezTo>
                    <a:pt x="303394" y="96929"/>
                    <a:pt x="324215" y="80115"/>
                    <a:pt x="324215" y="50443"/>
                  </a:cubicBezTo>
                  <a:cubicBezTo>
                    <a:pt x="324215" y="16814"/>
                    <a:pt x="304385" y="2967"/>
                    <a:pt x="261752" y="2967"/>
                  </a:cubicBezTo>
                  <a:close/>
                  <a:moveTo>
                    <a:pt x="144757" y="90005"/>
                  </a:moveTo>
                  <a:lnTo>
                    <a:pt x="158637" y="45497"/>
                  </a:lnTo>
                  <a:lnTo>
                    <a:pt x="159629" y="45497"/>
                  </a:lnTo>
                  <a:lnTo>
                    <a:pt x="173510" y="90005"/>
                  </a:lnTo>
                  <a:cubicBezTo>
                    <a:pt x="163595" y="92973"/>
                    <a:pt x="153680" y="92973"/>
                    <a:pt x="144757" y="90005"/>
                  </a:cubicBezTo>
                  <a:close/>
                  <a:moveTo>
                    <a:pt x="254811" y="67257"/>
                  </a:moveTo>
                  <a:lnTo>
                    <a:pt x="254811" y="31650"/>
                  </a:lnTo>
                  <a:lnTo>
                    <a:pt x="264726" y="31650"/>
                  </a:lnTo>
                  <a:cubicBezTo>
                    <a:pt x="277615" y="31650"/>
                    <a:pt x="287530" y="35607"/>
                    <a:pt x="287530" y="48464"/>
                  </a:cubicBezTo>
                  <a:cubicBezTo>
                    <a:pt x="287530" y="62311"/>
                    <a:pt x="277615" y="67257"/>
                    <a:pt x="264726" y="67257"/>
                  </a:cubicBezTo>
                  <a:close/>
                </a:path>
              </a:pathLst>
            </a:custGeom>
            <a:solidFill>
              <a:srgbClr val="FFFFFF"/>
            </a:solidFill>
            <a:ln w="984"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grpSp>
      <p:grpSp>
        <p:nvGrpSpPr>
          <p:cNvPr id="54" name="Group 53">
            <a:extLst>
              <a:ext uri="{FF2B5EF4-FFF2-40B4-BE49-F238E27FC236}">
                <a16:creationId xmlns:a16="http://schemas.microsoft.com/office/drawing/2014/main" id="{0B20111C-2A91-8A78-3656-9BD1FBC289BD}"/>
              </a:ext>
            </a:extLst>
          </p:cNvPr>
          <p:cNvGrpSpPr/>
          <p:nvPr/>
        </p:nvGrpSpPr>
        <p:grpSpPr>
          <a:xfrm>
            <a:off x="7645144" y="4903196"/>
            <a:ext cx="613786" cy="89705"/>
            <a:chOff x="14888061" y="11198159"/>
            <a:chExt cx="1887295" cy="275831"/>
          </a:xfrm>
        </p:grpSpPr>
        <p:sp>
          <p:nvSpPr>
            <p:cNvPr id="70" name="Freeform 99">
              <a:extLst>
                <a:ext uri="{FF2B5EF4-FFF2-40B4-BE49-F238E27FC236}">
                  <a16:creationId xmlns:a16="http://schemas.microsoft.com/office/drawing/2014/main" id="{033C5569-DDE8-49FC-4F50-7536851E756B}"/>
                </a:ext>
              </a:extLst>
            </p:cNvPr>
            <p:cNvSpPr/>
            <p:nvPr/>
          </p:nvSpPr>
          <p:spPr>
            <a:xfrm>
              <a:off x="15242744" y="11283144"/>
              <a:ext cx="113929" cy="186936"/>
            </a:xfrm>
            <a:custGeom>
              <a:avLst/>
              <a:gdLst>
                <a:gd name="connsiteX0" fmla="*/ 40200 w 46053"/>
                <a:gd name="connsiteY0" fmla="*/ 0 h 75565"/>
                <a:gd name="connsiteX1" fmla="*/ 19177 w 46053"/>
                <a:gd name="connsiteY1" fmla="*/ 7581 h 75565"/>
                <a:gd name="connsiteX2" fmla="*/ 19177 w 46053"/>
                <a:gd name="connsiteY2" fmla="*/ 770 h 75565"/>
                <a:gd name="connsiteX3" fmla="*/ 0 w 46053"/>
                <a:gd name="connsiteY3" fmla="*/ 770 h 75565"/>
                <a:gd name="connsiteX4" fmla="*/ 0 w 46053"/>
                <a:gd name="connsiteY4" fmla="*/ 75565 h 75565"/>
                <a:gd name="connsiteX5" fmla="*/ 19946 w 46053"/>
                <a:gd name="connsiteY5" fmla="*/ 75565 h 75565"/>
                <a:gd name="connsiteX6" fmla="*/ 19946 w 46053"/>
                <a:gd name="connsiteY6" fmla="*/ 27750 h 75565"/>
                <a:gd name="connsiteX7" fmla="*/ 38052 w 46053"/>
                <a:gd name="connsiteY7" fmla="*/ 18491 h 75565"/>
                <a:gd name="connsiteX8" fmla="*/ 46053 w 46053"/>
                <a:gd name="connsiteY8" fmla="*/ 19692 h 75565"/>
                <a:gd name="connsiteX9" fmla="*/ 46053 w 46053"/>
                <a:gd name="connsiteY9" fmla="*/ 513 h 75565"/>
                <a:gd name="connsiteX10" fmla="*/ 40200 w 46053"/>
                <a:gd name="connsiteY10" fmla="*/ 0 h 7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53" h="75565">
                  <a:moveTo>
                    <a:pt x="40200" y="0"/>
                  </a:moveTo>
                  <a:cubicBezTo>
                    <a:pt x="32522" y="-18"/>
                    <a:pt x="25081" y="2665"/>
                    <a:pt x="19177" y="7581"/>
                  </a:cubicBezTo>
                  <a:lnTo>
                    <a:pt x="19177" y="770"/>
                  </a:lnTo>
                  <a:lnTo>
                    <a:pt x="0" y="770"/>
                  </a:lnTo>
                  <a:lnTo>
                    <a:pt x="0" y="75565"/>
                  </a:lnTo>
                  <a:lnTo>
                    <a:pt x="19946" y="75565"/>
                  </a:lnTo>
                  <a:lnTo>
                    <a:pt x="19946" y="27750"/>
                  </a:lnTo>
                  <a:cubicBezTo>
                    <a:pt x="24287" y="22099"/>
                    <a:pt x="30934" y="18700"/>
                    <a:pt x="38052" y="18491"/>
                  </a:cubicBezTo>
                  <a:cubicBezTo>
                    <a:pt x="40772" y="18351"/>
                    <a:pt x="43493" y="18759"/>
                    <a:pt x="46053" y="19692"/>
                  </a:cubicBezTo>
                  <a:lnTo>
                    <a:pt x="46053" y="513"/>
                  </a:lnTo>
                  <a:cubicBezTo>
                    <a:pt x="44121" y="174"/>
                    <a:pt x="42162" y="2"/>
                    <a:pt x="40200" y="0"/>
                  </a:cubicBezTo>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1" name="Freeform 100">
              <a:extLst>
                <a:ext uri="{FF2B5EF4-FFF2-40B4-BE49-F238E27FC236}">
                  <a16:creationId xmlns:a16="http://schemas.microsoft.com/office/drawing/2014/main" id="{25A155EE-66EF-8740-7FE4-3EC6261A7BAB}"/>
                </a:ext>
              </a:extLst>
            </p:cNvPr>
            <p:cNvSpPr/>
            <p:nvPr/>
          </p:nvSpPr>
          <p:spPr>
            <a:xfrm>
              <a:off x="14888061" y="11281236"/>
              <a:ext cx="147278" cy="192650"/>
            </a:xfrm>
            <a:custGeom>
              <a:avLst/>
              <a:gdLst>
                <a:gd name="connsiteX0" fmla="*/ 9667 w 59534"/>
                <a:gd name="connsiteY0" fmla="*/ 53512 h 77874"/>
                <a:gd name="connsiteX1" fmla="*/ 30050 w 59534"/>
                <a:gd name="connsiteY1" fmla="*/ 60912 h 77874"/>
                <a:gd name="connsiteX2" fmla="*/ 39560 w 59534"/>
                <a:gd name="connsiteY2" fmla="*/ 54591 h 77874"/>
                <a:gd name="connsiteX3" fmla="*/ 3506 w 59534"/>
                <a:gd name="connsiteY3" fmla="*/ 23284 h 77874"/>
                <a:gd name="connsiteX4" fmla="*/ 32042 w 59534"/>
                <a:gd name="connsiteY4" fmla="*/ 0 h 77874"/>
                <a:gd name="connsiteX5" fmla="*/ 57200 w 59534"/>
                <a:gd name="connsiteY5" fmla="*/ 7580 h 77874"/>
                <a:gd name="connsiteX6" fmla="*/ 47870 w 59534"/>
                <a:gd name="connsiteY6" fmla="*/ 22047 h 77874"/>
                <a:gd name="connsiteX7" fmla="*/ 33602 w 59534"/>
                <a:gd name="connsiteY7" fmla="*/ 16963 h 77874"/>
                <a:gd name="connsiteX8" fmla="*/ 23475 w 59534"/>
                <a:gd name="connsiteY8" fmla="*/ 22975 h 77874"/>
                <a:gd name="connsiteX9" fmla="*/ 59535 w 59534"/>
                <a:gd name="connsiteY9" fmla="*/ 54742 h 77874"/>
                <a:gd name="connsiteX10" fmla="*/ 29922 w 59534"/>
                <a:gd name="connsiteY10" fmla="*/ 77874 h 77874"/>
                <a:gd name="connsiteX11" fmla="*/ 0 w 59534"/>
                <a:gd name="connsiteY11" fmla="*/ 67880 h 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534" h="77874">
                  <a:moveTo>
                    <a:pt x="9667" y="53512"/>
                  </a:moveTo>
                  <a:cubicBezTo>
                    <a:pt x="15363" y="58334"/>
                    <a:pt x="22592" y="60958"/>
                    <a:pt x="30050" y="60912"/>
                  </a:cubicBezTo>
                  <a:cubicBezTo>
                    <a:pt x="35419" y="60912"/>
                    <a:pt x="39560" y="58288"/>
                    <a:pt x="39560" y="54591"/>
                  </a:cubicBezTo>
                  <a:cubicBezTo>
                    <a:pt x="39560" y="43331"/>
                    <a:pt x="3506" y="47343"/>
                    <a:pt x="3506" y="23284"/>
                  </a:cubicBezTo>
                  <a:cubicBezTo>
                    <a:pt x="3506" y="8945"/>
                    <a:pt x="17314" y="0"/>
                    <a:pt x="32042" y="0"/>
                  </a:cubicBezTo>
                  <a:cubicBezTo>
                    <a:pt x="40985" y="25"/>
                    <a:pt x="49728" y="2659"/>
                    <a:pt x="57200" y="7580"/>
                  </a:cubicBezTo>
                  <a:lnTo>
                    <a:pt x="47870" y="22047"/>
                  </a:lnTo>
                  <a:cubicBezTo>
                    <a:pt x="43752" y="18919"/>
                    <a:pt x="38768" y="17142"/>
                    <a:pt x="33602" y="16963"/>
                  </a:cubicBezTo>
                  <a:cubicBezTo>
                    <a:pt x="28082" y="16963"/>
                    <a:pt x="23475" y="19120"/>
                    <a:pt x="23475" y="22975"/>
                  </a:cubicBezTo>
                  <a:cubicBezTo>
                    <a:pt x="23475" y="32689"/>
                    <a:pt x="59535" y="28835"/>
                    <a:pt x="59535" y="54742"/>
                  </a:cubicBezTo>
                  <a:cubicBezTo>
                    <a:pt x="59535" y="69087"/>
                    <a:pt x="45558" y="77874"/>
                    <a:pt x="29922" y="77874"/>
                  </a:cubicBezTo>
                  <a:cubicBezTo>
                    <a:pt x="19147" y="77769"/>
                    <a:pt x="8679" y="74273"/>
                    <a:pt x="0" y="67880"/>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2" name="Freeform 101">
              <a:extLst>
                <a:ext uri="{FF2B5EF4-FFF2-40B4-BE49-F238E27FC236}">
                  <a16:creationId xmlns:a16="http://schemas.microsoft.com/office/drawing/2014/main" id="{1F2525AC-987B-932D-48B4-E625644CD6D2}"/>
                </a:ext>
              </a:extLst>
            </p:cNvPr>
            <p:cNvSpPr/>
            <p:nvPr/>
          </p:nvSpPr>
          <p:spPr>
            <a:xfrm>
              <a:off x="15045086" y="11281238"/>
              <a:ext cx="176596" cy="192752"/>
            </a:xfrm>
            <a:custGeom>
              <a:avLst/>
              <a:gdLst>
                <a:gd name="connsiteX0" fmla="*/ 71385 w 71385"/>
                <a:gd name="connsiteY0" fmla="*/ 38240 h 77915"/>
                <a:gd name="connsiteX1" fmla="*/ 36245 w 71385"/>
                <a:gd name="connsiteY1" fmla="*/ 0 h 77915"/>
                <a:gd name="connsiteX2" fmla="*/ 34 w 71385"/>
                <a:gd name="connsiteY2" fmla="*/ 39016 h 77915"/>
                <a:gd name="connsiteX3" fmla="*/ 35693 w 71385"/>
                <a:gd name="connsiteY3" fmla="*/ 77882 h 77915"/>
                <a:gd name="connsiteX4" fmla="*/ 39023 w 71385"/>
                <a:gd name="connsiteY4" fmla="*/ 77874 h 77915"/>
                <a:gd name="connsiteX5" fmla="*/ 69556 w 71385"/>
                <a:gd name="connsiteY5" fmla="*/ 64463 h 77915"/>
                <a:gd name="connsiteX6" fmla="*/ 58200 w 71385"/>
                <a:gd name="connsiteY6" fmla="*/ 53051 h 77915"/>
                <a:gd name="connsiteX7" fmla="*/ 39483 w 71385"/>
                <a:gd name="connsiteY7" fmla="*/ 61687 h 77915"/>
                <a:gd name="connsiteX8" fmla="*/ 19368 w 71385"/>
                <a:gd name="connsiteY8" fmla="*/ 43972 h 77915"/>
                <a:gd name="connsiteX9" fmla="*/ 70925 w 71385"/>
                <a:gd name="connsiteY9" fmla="*/ 43972 h 77915"/>
                <a:gd name="connsiteX10" fmla="*/ 71385 w 71385"/>
                <a:gd name="connsiteY10" fmla="*/ 38240 h 77915"/>
                <a:gd name="connsiteX11" fmla="*/ 20289 w 71385"/>
                <a:gd name="connsiteY11" fmla="*/ 29301 h 77915"/>
                <a:gd name="connsiteX12" fmla="*/ 36245 w 71385"/>
                <a:gd name="connsiteY12" fmla="*/ 16193 h 77915"/>
                <a:gd name="connsiteX13" fmla="*/ 50979 w 71385"/>
                <a:gd name="connsiteY13" fmla="*/ 29301 h 77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385" h="77915">
                  <a:moveTo>
                    <a:pt x="71385" y="38240"/>
                  </a:moveTo>
                  <a:cubicBezTo>
                    <a:pt x="71385" y="17423"/>
                    <a:pt x="56826" y="0"/>
                    <a:pt x="36245" y="0"/>
                  </a:cubicBezTo>
                  <a:cubicBezTo>
                    <a:pt x="14151" y="0"/>
                    <a:pt x="34" y="18193"/>
                    <a:pt x="34" y="39016"/>
                  </a:cubicBezTo>
                  <a:cubicBezTo>
                    <a:pt x="-838" y="59608"/>
                    <a:pt x="15127" y="77009"/>
                    <a:pt x="35693" y="77882"/>
                  </a:cubicBezTo>
                  <a:cubicBezTo>
                    <a:pt x="36803" y="77929"/>
                    <a:pt x="37914" y="77927"/>
                    <a:pt x="39023" y="77874"/>
                  </a:cubicBezTo>
                  <a:cubicBezTo>
                    <a:pt x="50658" y="78028"/>
                    <a:pt x="61790" y="73138"/>
                    <a:pt x="69556" y="64463"/>
                  </a:cubicBezTo>
                  <a:lnTo>
                    <a:pt x="58200" y="53051"/>
                  </a:lnTo>
                  <a:cubicBezTo>
                    <a:pt x="53395" y="58360"/>
                    <a:pt x="46636" y="61478"/>
                    <a:pt x="39483" y="61687"/>
                  </a:cubicBezTo>
                  <a:cubicBezTo>
                    <a:pt x="29160" y="62024"/>
                    <a:pt x="20353" y="54268"/>
                    <a:pt x="19368" y="43972"/>
                  </a:cubicBezTo>
                  <a:lnTo>
                    <a:pt x="70925" y="43972"/>
                  </a:lnTo>
                  <a:cubicBezTo>
                    <a:pt x="71242" y="42078"/>
                    <a:pt x="71396" y="40161"/>
                    <a:pt x="71385" y="38240"/>
                  </a:cubicBezTo>
                  <a:close/>
                  <a:moveTo>
                    <a:pt x="20289" y="29301"/>
                  </a:moveTo>
                  <a:cubicBezTo>
                    <a:pt x="21765" y="21657"/>
                    <a:pt x="28470" y="16150"/>
                    <a:pt x="36245" y="16193"/>
                  </a:cubicBezTo>
                  <a:cubicBezTo>
                    <a:pt x="43760" y="16204"/>
                    <a:pt x="50084" y="21830"/>
                    <a:pt x="50979" y="29301"/>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3" name="Freeform 102">
              <a:extLst>
                <a:ext uri="{FF2B5EF4-FFF2-40B4-BE49-F238E27FC236}">
                  <a16:creationId xmlns:a16="http://schemas.microsoft.com/office/drawing/2014/main" id="{5F8A6D6D-A724-F343-5AF3-3AEDC317880A}"/>
                </a:ext>
              </a:extLst>
            </p:cNvPr>
            <p:cNvSpPr/>
            <p:nvPr/>
          </p:nvSpPr>
          <p:spPr>
            <a:xfrm>
              <a:off x="15372549" y="11285049"/>
              <a:ext cx="203466" cy="185034"/>
            </a:xfrm>
            <a:custGeom>
              <a:avLst/>
              <a:gdLst>
                <a:gd name="connsiteX0" fmla="*/ 41121 w 82246"/>
                <a:gd name="connsiteY0" fmla="*/ 45646 h 74795"/>
                <a:gd name="connsiteX1" fmla="*/ 61527 w 82246"/>
                <a:gd name="connsiteY1" fmla="*/ 0 h 74795"/>
                <a:gd name="connsiteX2" fmla="*/ 82247 w 82246"/>
                <a:gd name="connsiteY2" fmla="*/ 0 h 74795"/>
                <a:gd name="connsiteX3" fmla="*/ 48027 w 82246"/>
                <a:gd name="connsiteY3" fmla="*/ 74796 h 74795"/>
                <a:gd name="connsiteX4" fmla="*/ 34220 w 82246"/>
                <a:gd name="connsiteY4" fmla="*/ 74796 h 74795"/>
                <a:gd name="connsiteX5" fmla="*/ 0 w 82246"/>
                <a:gd name="connsiteY5" fmla="*/ 0 h 74795"/>
                <a:gd name="connsiteX6" fmla="*/ 20715 w 82246"/>
                <a:gd name="connsiteY6" fmla="*/ 0 h 74795"/>
                <a:gd name="connsiteX7" fmla="*/ 41121 w 82246"/>
                <a:gd name="connsiteY7" fmla="*/ 45646 h 7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246" h="74795">
                  <a:moveTo>
                    <a:pt x="41121" y="45646"/>
                  </a:moveTo>
                  <a:lnTo>
                    <a:pt x="61527" y="0"/>
                  </a:lnTo>
                  <a:lnTo>
                    <a:pt x="82247" y="0"/>
                  </a:lnTo>
                  <a:lnTo>
                    <a:pt x="48027" y="74796"/>
                  </a:lnTo>
                  <a:lnTo>
                    <a:pt x="34220" y="74796"/>
                  </a:lnTo>
                  <a:lnTo>
                    <a:pt x="0" y="0"/>
                  </a:lnTo>
                  <a:lnTo>
                    <a:pt x="20715" y="0"/>
                  </a:lnTo>
                  <a:lnTo>
                    <a:pt x="41121" y="45646"/>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4" name="Freeform 103">
              <a:extLst>
                <a:ext uri="{FF2B5EF4-FFF2-40B4-BE49-F238E27FC236}">
                  <a16:creationId xmlns:a16="http://schemas.microsoft.com/office/drawing/2014/main" id="{D9D56324-0408-956D-1D4A-BF550EFF525C}"/>
                </a:ext>
              </a:extLst>
            </p:cNvPr>
            <p:cNvSpPr/>
            <p:nvPr/>
          </p:nvSpPr>
          <p:spPr>
            <a:xfrm>
              <a:off x="15585181" y="11198159"/>
              <a:ext cx="63387" cy="63469"/>
            </a:xfrm>
            <a:custGeom>
              <a:avLst/>
              <a:gdLst>
                <a:gd name="connsiteX0" fmla="*/ 13045 w 25623"/>
                <a:gd name="connsiteY0" fmla="*/ 2 h 25656"/>
                <a:gd name="connsiteX1" fmla="*/ 25622 w 25623"/>
                <a:gd name="connsiteY1" fmla="*/ 13062 h 25656"/>
                <a:gd name="connsiteX2" fmla="*/ 12579 w 25623"/>
                <a:gd name="connsiteY2" fmla="*/ 25655 h 25656"/>
                <a:gd name="connsiteX3" fmla="*/ 0 w 25623"/>
                <a:gd name="connsiteY3" fmla="*/ 12831 h 25656"/>
                <a:gd name="connsiteX4" fmla="*/ 12810 w 25623"/>
                <a:gd name="connsiteY4" fmla="*/ 0 h 25656"/>
                <a:gd name="connsiteX5" fmla="*/ 13045 w 25623"/>
                <a:gd name="connsiteY5" fmla="*/ 2 h 2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23" h="25656">
                  <a:moveTo>
                    <a:pt x="13045" y="2"/>
                  </a:moveTo>
                  <a:cubicBezTo>
                    <a:pt x="20119" y="131"/>
                    <a:pt x="25750" y="5978"/>
                    <a:pt x="25622" y="13062"/>
                  </a:cubicBezTo>
                  <a:cubicBezTo>
                    <a:pt x="25493" y="20145"/>
                    <a:pt x="19654" y="25784"/>
                    <a:pt x="12579" y="25655"/>
                  </a:cubicBezTo>
                  <a:cubicBezTo>
                    <a:pt x="5596" y="25528"/>
                    <a:pt x="1" y="19824"/>
                    <a:pt x="0" y="12831"/>
                  </a:cubicBezTo>
                  <a:cubicBezTo>
                    <a:pt x="-1" y="5746"/>
                    <a:pt x="5734" y="1"/>
                    <a:pt x="12810" y="0"/>
                  </a:cubicBezTo>
                  <a:cubicBezTo>
                    <a:pt x="12888" y="0"/>
                    <a:pt x="12966" y="1"/>
                    <a:pt x="13045" y="2"/>
                  </a:cubicBezTo>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5" name="Freeform 104">
              <a:extLst>
                <a:ext uri="{FF2B5EF4-FFF2-40B4-BE49-F238E27FC236}">
                  <a16:creationId xmlns:a16="http://schemas.microsoft.com/office/drawing/2014/main" id="{88E6D954-FCD3-53CA-2C31-115B29C1EE64}"/>
                </a:ext>
              </a:extLst>
            </p:cNvPr>
            <p:cNvSpPr/>
            <p:nvPr/>
          </p:nvSpPr>
          <p:spPr>
            <a:xfrm>
              <a:off x="15592775" y="11285049"/>
              <a:ext cx="49342" cy="185034"/>
            </a:xfrm>
            <a:custGeom>
              <a:avLst/>
              <a:gdLst>
                <a:gd name="connsiteX0" fmla="*/ 0 w 19945"/>
                <a:gd name="connsiteY0" fmla="*/ 0 h 74795"/>
                <a:gd name="connsiteX1" fmla="*/ 19946 w 19945"/>
                <a:gd name="connsiteY1" fmla="*/ 0 h 74795"/>
                <a:gd name="connsiteX2" fmla="*/ 19946 w 19945"/>
                <a:gd name="connsiteY2" fmla="*/ 74796 h 74795"/>
                <a:gd name="connsiteX3" fmla="*/ 0 w 19945"/>
                <a:gd name="connsiteY3" fmla="*/ 74796 h 74795"/>
              </a:gdLst>
              <a:ahLst/>
              <a:cxnLst>
                <a:cxn ang="0">
                  <a:pos x="connsiteX0" y="connsiteY0"/>
                </a:cxn>
                <a:cxn ang="0">
                  <a:pos x="connsiteX1" y="connsiteY1"/>
                </a:cxn>
                <a:cxn ang="0">
                  <a:pos x="connsiteX2" y="connsiteY2"/>
                </a:cxn>
                <a:cxn ang="0">
                  <a:pos x="connsiteX3" y="connsiteY3"/>
                </a:cxn>
              </a:cxnLst>
              <a:rect l="l" t="t" r="r" b="b"/>
              <a:pathLst>
                <a:path w="19945" h="74795">
                  <a:moveTo>
                    <a:pt x="0" y="0"/>
                  </a:moveTo>
                  <a:lnTo>
                    <a:pt x="19946" y="0"/>
                  </a:lnTo>
                  <a:lnTo>
                    <a:pt x="19946" y="74796"/>
                  </a:lnTo>
                  <a:lnTo>
                    <a:pt x="0" y="74796"/>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6" name="Freeform 105">
              <a:extLst>
                <a:ext uri="{FF2B5EF4-FFF2-40B4-BE49-F238E27FC236}">
                  <a16:creationId xmlns:a16="http://schemas.microsoft.com/office/drawing/2014/main" id="{7B9E4505-951E-02E9-F494-3784C7264281}"/>
                </a:ext>
              </a:extLst>
            </p:cNvPr>
            <p:cNvSpPr/>
            <p:nvPr/>
          </p:nvSpPr>
          <p:spPr>
            <a:xfrm>
              <a:off x="15663878" y="11281199"/>
              <a:ext cx="182235" cy="192761"/>
            </a:xfrm>
            <a:custGeom>
              <a:avLst/>
              <a:gdLst>
                <a:gd name="connsiteX0" fmla="*/ 73665 w 73664"/>
                <a:gd name="connsiteY0" fmla="*/ 61080 h 77919"/>
                <a:gd name="connsiteX1" fmla="*/ 39888 w 73664"/>
                <a:gd name="connsiteY1" fmla="*/ 77891 h 77919"/>
                <a:gd name="connsiteX2" fmla="*/ 13 w 73664"/>
                <a:gd name="connsiteY2" fmla="*/ 39939 h 77919"/>
                <a:gd name="connsiteX3" fmla="*/ 37916 w 73664"/>
                <a:gd name="connsiteY3" fmla="*/ 13 h 77919"/>
                <a:gd name="connsiteX4" fmla="*/ 40039 w 73664"/>
                <a:gd name="connsiteY4" fmla="*/ 17 h 77919"/>
                <a:gd name="connsiteX5" fmla="*/ 71341 w 73664"/>
                <a:gd name="connsiteY5" fmla="*/ 14973 h 77919"/>
                <a:gd name="connsiteX6" fmla="*/ 57225 w 73664"/>
                <a:gd name="connsiteY6" fmla="*/ 27464 h 77919"/>
                <a:gd name="connsiteX7" fmla="*/ 40039 w 73664"/>
                <a:gd name="connsiteY7" fmla="*/ 18519 h 77919"/>
                <a:gd name="connsiteX8" fmla="*/ 19965 w 73664"/>
                <a:gd name="connsiteY8" fmla="*/ 38455 h 77919"/>
                <a:gd name="connsiteX9" fmla="*/ 19971 w 73664"/>
                <a:gd name="connsiteY9" fmla="*/ 39033 h 77919"/>
                <a:gd name="connsiteX10" fmla="*/ 39019 w 73664"/>
                <a:gd name="connsiteY10" fmla="*/ 59392 h 77919"/>
                <a:gd name="connsiteX11" fmla="*/ 40534 w 73664"/>
                <a:gd name="connsiteY11" fmla="*/ 59383 h 77919"/>
                <a:gd name="connsiteX12" fmla="*/ 58331 w 73664"/>
                <a:gd name="connsiteY12" fmla="*/ 49517 h 7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64" h="77919">
                  <a:moveTo>
                    <a:pt x="73665" y="61080"/>
                  </a:moveTo>
                  <a:cubicBezTo>
                    <a:pt x="65990" y="72066"/>
                    <a:pt x="53268" y="78398"/>
                    <a:pt x="39888" y="77891"/>
                  </a:cubicBezTo>
                  <a:cubicBezTo>
                    <a:pt x="18410" y="78436"/>
                    <a:pt x="557" y="61444"/>
                    <a:pt x="13" y="39939"/>
                  </a:cubicBezTo>
                  <a:cubicBezTo>
                    <a:pt x="-532" y="18433"/>
                    <a:pt x="16438" y="558"/>
                    <a:pt x="37916" y="13"/>
                  </a:cubicBezTo>
                  <a:cubicBezTo>
                    <a:pt x="38624" y="-5"/>
                    <a:pt x="39331" y="-4"/>
                    <a:pt x="40039" y="17"/>
                  </a:cubicBezTo>
                  <a:cubicBezTo>
                    <a:pt x="52213" y="-74"/>
                    <a:pt x="63754" y="5440"/>
                    <a:pt x="71341" y="14973"/>
                  </a:cubicBezTo>
                  <a:lnTo>
                    <a:pt x="57225" y="27464"/>
                  </a:lnTo>
                  <a:cubicBezTo>
                    <a:pt x="53232" y="21927"/>
                    <a:pt x="46859" y="18609"/>
                    <a:pt x="40039" y="18519"/>
                  </a:cubicBezTo>
                  <a:cubicBezTo>
                    <a:pt x="28997" y="18473"/>
                    <a:pt x="20010" y="27399"/>
                    <a:pt x="19965" y="38455"/>
                  </a:cubicBezTo>
                  <a:cubicBezTo>
                    <a:pt x="19964" y="38647"/>
                    <a:pt x="19966" y="38840"/>
                    <a:pt x="19971" y="39033"/>
                  </a:cubicBezTo>
                  <a:cubicBezTo>
                    <a:pt x="19616" y="49922"/>
                    <a:pt x="28144" y="59037"/>
                    <a:pt x="39019" y="59392"/>
                  </a:cubicBezTo>
                  <a:cubicBezTo>
                    <a:pt x="39524" y="59408"/>
                    <a:pt x="40029" y="59405"/>
                    <a:pt x="40534" y="59383"/>
                  </a:cubicBezTo>
                  <a:cubicBezTo>
                    <a:pt x="47730" y="59240"/>
                    <a:pt x="54390" y="55547"/>
                    <a:pt x="58331" y="49517"/>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7" name="Freeform 106">
              <a:extLst>
                <a:ext uri="{FF2B5EF4-FFF2-40B4-BE49-F238E27FC236}">
                  <a16:creationId xmlns:a16="http://schemas.microsoft.com/office/drawing/2014/main" id="{76F5DE0E-0D0A-C738-4918-3FA8D17203C7}"/>
                </a:ext>
              </a:extLst>
            </p:cNvPr>
            <p:cNvSpPr/>
            <p:nvPr/>
          </p:nvSpPr>
          <p:spPr>
            <a:xfrm>
              <a:off x="15853338" y="11281226"/>
              <a:ext cx="176581" cy="192752"/>
            </a:xfrm>
            <a:custGeom>
              <a:avLst/>
              <a:gdLst>
                <a:gd name="connsiteX0" fmla="*/ 69538 w 71379"/>
                <a:gd name="connsiteY0" fmla="*/ 64463 h 77915"/>
                <a:gd name="connsiteX1" fmla="*/ 39005 w 71379"/>
                <a:gd name="connsiteY1" fmla="*/ 77874 h 77915"/>
                <a:gd name="connsiteX2" fmla="*/ 40 w 71379"/>
                <a:gd name="connsiteY2" fmla="*/ 42332 h 77915"/>
                <a:gd name="connsiteX3" fmla="*/ 33 w 71379"/>
                <a:gd name="connsiteY3" fmla="*/ 39016 h 77915"/>
                <a:gd name="connsiteX4" fmla="*/ 36245 w 71379"/>
                <a:gd name="connsiteY4" fmla="*/ 0 h 77915"/>
                <a:gd name="connsiteX5" fmla="*/ 71378 w 71379"/>
                <a:gd name="connsiteY5" fmla="*/ 38240 h 77915"/>
                <a:gd name="connsiteX6" fmla="*/ 70918 w 71379"/>
                <a:gd name="connsiteY6" fmla="*/ 43949 h 77915"/>
                <a:gd name="connsiteX7" fmla="*/ 19362 w 71379"/>
                <a:gd name="connsiteY7" fmla="*/ 43949 h 77915"/>
                <a:gd name="connsiteX8" fmla="*/ 39465 w 71379"/>
                <a:gd name="connsiteY8" fmla="*/ 61681 h 77915"/>
                <a:gd name="connsiteX9" fmla="*/ 58188 w 71379"/>
                <a:gd name="connsiteY9" fmla="*/ 53046 h 77915"/>
                <a:gd name="connsiteX10" fmla="*/ 50972 w 71379"/>
                <a:gd name="connsiteY10" fmla="*/ 29307 h 77915"/>
                <a:gd name="connsiteX11" fmla="*/ 36245 w 71379"/>
                <a:gd name="connsiteY11" fmla="*/ 16199 h 77915"/>
                <a:gd name="connsiteX12" fmla="*/ 20288 w 71379"/>
                <a:gd name="connsiteY12" fmla="*/ 29307 h 77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379" h="77915">
                  <a:moveTo>
                    <a:pt x="69538" y="64463"/>
                  </a:moveTo>
                  <a:cubicBezTo>
                    <a:pt x="61772" y="73138"/>
                    <a:pt x="50639" y="78028"/>
                    <a:pt x="39005" y="77874"/>
                  </a:cubicBezTo>
                  <a:cubicBezTo>
                    <a:pt x="18443" y="78833"/>
                    <a:pt x="998" y="62920"/>
                    <a:pt x="40" y="42332"/>
                  </a:cubicBezTo>
                  <a:cubicBezTo>
                    <a:pt x="-11" y="41227"/>
                    <a:pt x="-13" y="40121"/>
                    <a:pt x="33" y="39016"/>
                  </a:cubicBezTo>
                  <a:cubicBezTo>
                    <a:pt x="33" y="18193"/>
                    <a:pt x="14150" y="0"/>
                    <a:pt x="36245" y="0"/>
                  </a:cubicBezTo>
                  <a:cubicBezTo>
                    <a:pt x="56802" y="0"/>
                    <a:pt x="71378" y="17423"/>
                    <a:pt x="71378" y="38240"/>
                  </a:cubicBezTo>
                  <a:cubicBezTo>
                    <a:pt x="71391" y="40153"/>
                    <a:pt x="71238" y="42063"/>
                    <a:pt x="70918" y="43949"/>
                  </a:cubicBezTo>
                  <a:lnTo>
                    <a:pt x="19362" y="43949"/>
                  </a:lnTo>
                  <a:cubicBezTo>
                    <a:pt x="20337" y="54247"/>
                    <a:pt x="29140" y="62011"/>
                    <a:pt x="39465" y="61681"/>
                  </a:cubicBezTo>
                  <a:cubicBezTo>
                    <a:pt x="46619" y="61471"/>
                    <a:pt x="53379" y="58353"/>
                    <a:pt x="58188" y="53046"/>
                  </a:cubicBezTo>
                  <a:close/>
                  <a:moveTo>
                    <a:pt x="50972" y="29307"/>
                  </a:moveTo>
                  <a:cubicBezTo>
                    <a:pt x="50080" y="21837"/>
                    <a:pt x="43758" y="16210"/>
                    <a:pt x="36245" y="16199"/>
                  </a:cubicBezTo>
                  <a:cubicBezTo>
                    <a:pt x="28468" y="16153"/>
                    <a:pt x="21762" y="21662"/>
                    <a:pt x="20288" y="29307"/>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8" name="Freeform 107">
              <a:extLst>
                <a:ext uri="{FF2B5EF4-FFF2-40B4-BE49-F238E27FC236}">
                  <a16:creationId xmlns:a16="http://schemas.microsoft.com/office/drawing/2014/main" id="{4A1B171A-0822-00E3-BF4C-6DF148E3BD0A}"/>
                </a:ext>
              </a:extLst>
            </p:cNvPr>
            <p:cNvSpPr/>
            <p:nvPr/>
          </p:nvSpPr>
          <p:spPr>
            <a:xfrm>
              <a:off x="16049542" y="11281238"/>
              <a:ext cx="182527" cy="188842"/>
            </a:xfrm>
            <a:custGeom>
              <a:avLst/>
              <a:gdLst>
                <a:gd name="connsiteX0" fmla="*/ 0 w 73782"/>
                <a:gd name="connsiteY0" fmla="*/ 76335 h 76335"/>
                <a:gd name="connsiteX1" fmla="*/ 0 w 73782"/>
                <a:gd name="connsiteY1" fmla="*/ 1540 h 76335"/>
                <a:gd name="connsiteX2" fmla="*/ 19177 w 73782"/>
                <a:gd name="connsiteY2" fmla="*/ 1540 h 76335"/>
                <a:gd name="connsiteX3" fmla="*/ 19177 w 73782"/>
                <a:gd name="connsiteY3" fmla="*/ 7551 h 76335"/>
                <a:gd name="connsiteX4" fmla="*/ 40195 w 73782"/>
                <a:gd name="connsiteY4" fmla="*/ 0 h 76335"/>
                <a:gd name="connsiteX5" fmla="*/ 65976 w 73782"/>
                <a:gd name="connsiteY5" fmla="*/ 12030 h 76335"/>
                <a:gd name="connsiteX6" fmla="*/ 73645 w 73782"/>
                <a:gd name="connsiteY6" fmla="*/ 38270 h 76335"/>
                <a:gd name="connsiteX7" fmla="*/ 73645 w 73782"/>
                <a:gd name="connsiteY7" fmla="*/ 76335 h 76335"/>
                <a:gd name="connsiteX8" fmla="*/ 53700 w 73782"/>
                <a:gd name="connsiteY8" fmla="*/ 76335 h 76335"/>
                <a:gd name="connsiteX9" fmla="*/ 53700 w 73782"/>
                <a:gd name="connsiteY9" fmla="*/ 36684 h 76335"/>
                <a:gd name="connsiteX10" fmla="*/ 49250 w 73782"/>
                <a:gd name="connsiteY10" fmla="*/ 22648 h 76335"/>
                <a:gd name="connsiteX11" fmla="*/ 38052 w 73782"/>
                <a:gd name="connsiteY11" fmla="*/ 18485 h 76335"/>
                <a:gd name="connsiteX12" fmla="*/ 19946 w 73782"/>
                <a:gd name="connsiteY12" fmla="*/ 27739 h 76335"/>
                <a:gd name="connsiteX13" fmla="*/ 19946 w 73782"/>
                <a:gd name="connsiteY13" fmla="*/ 76335 h 7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782" h="76335">
                  <a:moveTo>
                    <a:pt x="0" y="76335"/>
                  </a:moveTo>
                  <a:lnTo>
                    <a:pt x="0" y="1540"/>
                  </a:lnTo>
                  <a:lnTo>
                    <a:pt x="19177" y="1540"/>
                  </a:lnTo>
                  <a:lnTo>
                    <a:pt x="19177" y="7551"/>
                  </a:lnTo>
                  <a:cubicBezTo>
                    <a:pt x="25083" y="2647"/>
                    <a:pt x="32522" y="-25"/>
                    <a:pt x="40195" y="0"/>
                  </a:cubicBezTo>
                  <a:cubicBezTo>
                    <a:pt x="50147" y="-28"/>
                    <a:pt x="59596" y="4381"/>
                    <a:pt x="65976" y="12030"/>
                  </a:cubicBezTo>
                  <a:cubicBezTo>
                    <a:pt x="71713" y="19512"/>
                    <a:pt x="74449" y="28871"/>
                    <a:pt x="73645" y="38270"/>
                  </a:cubicBezTo>
                  <a:lnTo>
                    <a:pt x="73645" y="76335"/>
                  </a:lnTo>
                  <a:lnTo>
                    <a:pt x="53700" y="76335"/>
                  </a:lnTo>
                  <a:lnTo>
                    <a:pt x="53700" y="36684"/>
                  </a:lnTo>
                  <a:cubicBezTo>
                    <a:pt x="54266" y="31585"/>
                    <a:pt x="52649" y="26486"/>
                    <a:pt x="49250" y="22648"/>
                  </a:cubicBezTo>
                  <a:cubicBezTo>
                    <a:pt x="46213" y="19834"/>
                    <a:pt x="42187" y="18337"/>
                    <a:pt x="38052" y="18485"/>
                  </a:cubicBezTo>
                  <a:cubicBezTo>
                    <a:pt x="30936" y="18695"/>
                    <a:pt x="24290" y="22092"/>
                    <a:pt x="19946" y="27739"/>
                  </a:cubicBezTo>
                  <a:lnTo>
                    <a:pt x="19946" y="76335"/>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79" name="Freeform 108">
              <a:extLst>
                <a:ext uri="{FF2B5EF4-FFF2-40B4-BE49-F238E27FC236}">
                  <a16:creationId xmlns:a16="http://schemas.microsoft.com/office/drawing/2014/main" id="{27F7CD2C-26C4-CA95-2A16-668FD23D3F93}"/>
                </a:ext>
              </a:extLst>
            </p:cNvPr>
            <p:cNvSpPr/>
            <p:nvPr/>
          </p:nvSpPr>
          <p:spPr>
            <a:xfrm>
              <a:off x="16250521" y="11281209"/>
              <a:ext cx="215282" cy="192744"/>
            </a:xfrm>
            <a:custGeom>
              <a:avLst/>
              <a:gdLst>
                <a:gd name="connsiteX0" fmla="*/ 43768 w 87023"/>
                <a:gd name="connsiteY0" fmla="*/ 12 h 77912"/>
                <a:gd name="connsiteX1" fmla="*/ 0 w 87023"/>
                <a:gd name="connsiteY1" fmla="*/ 43653 h 77912"/>
                <a:gd name="connsiteX2" fmla="*/ 13677 w 87023"/>
                <a:gd name="connsiteY2" fmla="*/ 75530 h 77912"/>
                <a:gd name="connsiteX3" fmla="*/ 24894 w 87023"/>
                <a:gd name="connsiteY3" fmla="*/ 76113 h 77912"/>
                <a:gd name="connsiteX4" fmla="*/ 62130 w 87023"/>
                <a:gd name="connsiteY4" fmla="*/ 76113 h 77912"/>
                <a:gd name="connsiteX5" fmla="*/ 73410 w 87023"/>
                <a:gd name="connsiteY5" fmla="*/ 75454 h 77912"/>
                <a:gd name="connsiteX6" fmla="*/ 75029 w 87023"/>
                <a:gd name="connsiteY6" fmla="*/ 13627 h 77912"/>
                <a:gd name="connsiteX7" fmla="*/ 43768 w 87023"/>
                <a:gd name="connsiteY7" fmla="*/ 0 h 77912"/>
                <a:gd name="connsiteX8" fmla="*/ 43512 w 87023"/>
                <a:gd name="connsiteY8" fmla="*/ 65559 h 77912"/>
                <a:gd name="connsiteX9" fmla="*/ 21766 w 87023"/>
                <a:gd name="connsiteY9" fmla="*/ 44932 h 77912"/>
                <a:gd name="connsiteX10" fmla="*/ 21766 w 87023"/>
                <a:gd name="connsiteY10" fmla="*/ 43792 h 77912"/>
                <a:gd name="connsiteX11" fmla="*/ 43512 w 87023"/>
                <a:gd name="connsiteY11" fmla="*/ 22018 h 77912"/>
                <a:gd name="connsiteX12" fmla="*/ 65257 w 87023"/>
                <a:gd name="connsiteY12" fmla="*/ 43792 h 77912"/>
                <a:gd name="connsiteX13" fmla="*/ 44653 w 87023"/>
                <a:gd name="connsiteY13" fmla="*/ 65559 h 77912"/>
                <a:gd name="connsiteX14" fmla="*/ 43512 w 87023"/>
                <a:gd name="connsiteY14" fmla="*/ 65559 h 7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023" h="77912">
                  <a:moveTo>
                    <a:pt x="43768" y="12"/>
                  </a:moveTo>
                  <a:cubicBezTo>
                    <a:pt x="19646" y="-39"/>
                    <a:pt x="50" y="19500"/>
                    <a:pt x="0" y="43653"/>
                  </a:cubicBezTo>
                  <a:cubicBezTo>
                    <a:pt x="-25" y="55713"/>
                    <a:pt x="4924" y="67247"/>
                    <a:pt x="13677" y="75530"/>
                  </a:cubicBezTo>
                  <a:cubicBezTo>
                    <a:pt x="16761" y="78470"/>
                    <a:pt x="21524" y="78717"/>
                    <a:pt x="24894" y="76113"/>
                  </a:cubicBezTo>
                  <a:cubicBezTo>
                    <a:pt x="35941" y="67879"/>
                    <a:pt x="51083" y="67879"/>
                    <a:pt x="62130" y="76113"/>
                  </a:cubicBezTo>
                  <a:cubicBezTo>
                    <a:pt x="65531" y="78724"/>
                    <a:pt x="70336" y="78443"/>
                    <a:pt x="73410" y="75454"/>
                  </a:cubicBezTo>
                  <a:cubicBezTo>
                    <a:pt x="90910" y="58829"/>
                    <a:pt x="91632" y="31148"/>
                    <a:pt x="75029" y="13627"/>
                  </a:cubicBezTo>
                  <a:cubicBezTo>
                    <a:pt x="66882" y="5032"/>
                    <a:pt x="55602" y="115"/>
                    <a:pt x="43768" y="0"/>
                  </a:cubicBezTo>
                  <a:moveTo>
                    <a:pt x="43512" y="65559"/>
                  </a:moveTo>
                  <a:cubicBezTo>
                    <a:pt x="31818" y="65876"/>
                    <a:pt x="22083" y="56641"/>
                    <a:pt x="21766" y="44932"/>
                  </a:cubicBezTo>
                  <a:cubicBezTo>
                    <a:pt x="21757" y="44552"/>
                    <a:pt x="21757" y="44172"/>
                    <a:pt x="21766" y="43792"/>
                  </a:cubicBezTo>
                  <a:cubicBezTo>
                    <a:pt x="21766" y="31767"/>
                    <a:pt x="31504" y="22018"/>
                    <a:pt x="43512" y="22018"/>
                  </a:cubicBezTo>
                  <a:cubicBezTo>
                    <a:pt x="55520" y="22018"/>
                    <a:pt x="65257" y="31767"/>
                    <a:pt x="65257" y="43792"/>
                  </a:cubicBezTo>
                  <a:cubicBezTo>
                    <a:pt x="65572" y="55500"/>
                    <a:pt x="56347" y="65246"/>
                    <a:pt x="44653" y="65559"/>
                  </a:cubicBezTo>
                  <a:cubicBezTo>
                    <a:pt x="44269" y="65570"/>
                    <a:pt x="43890" y="65570"/>
                    <a:pt x="43512" y="65559"/>
                  </a:cubicBezTo>
                </a:path>
              </a:pathLst>
            </a:custGeom>
            <a:solidFill>
              <a:srgbClr val="62D84E"/>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0" name="Freeform 109">
              <a:extLst>
                <a:ext uri="{FF2B5EF4-FFF2-40B4-BE49-F238E27FC236}">
                  <a16:creationId xmlns:a16="http://schemas.microsoft.com/office/drawing/2014/main" id="{A359058D-3BF8-ABDC-B750-A978D05E88F9}"/>
                </a:ext>
              </a:extLst>
            </p:cNvPr>
            <p:cNvSpPr/>
            <p:nvPr/>
          </p:nvSpPr>
          <p:spPr>
            <a:xfrm>
              <a:off x="16453364" y="11285049"/>
              <a:ext cx="298881" cy="185034"/>
            </a:xfrm>
            <a:custGeom>
              <a:avLst/>
              <a:gdLst>
                <a:gd name="connsiteX0" fmla="*/ 44481 w 120816"/>
                <a:gd name="connsiteY0" fmla="*/ 74796 h 74795"/>
                <a:gd name="connsiteX1" fmla="*/ 29625 w 120816"/>
                <a:gd name="connsiteY1" fmla="*/ 74796 h 74795"/>
                <a:gd name="connsiteX2" fmla="*/ 0 w 120816"/>
                <a:gd name="connsiteY2" fmla="*/ 0 h 74795"/>
                <a:gd name="connsiteX3" fmla="*/ 19917 w 120816"/>
                <a:gd name="connsiteY3" fmla="*/ 0 h 74795"/>
                <a:gd name="connsiteX4" fmla="*/ 36159 w 120816"/>
                <a:gd name="connsiteY4" fmla="*/ 42742 h 74795"/>
                <a:gd name="connsiteX5" fmla="*/ 52086 w 120816"/>
                <a:gd name="connsiteY5" fmla="*/ 0 h 74795"/>
                <a:gd name="connsiteX6" fmla="*/ 68730 w 120816"/>
                <a:gd name="connsiteY6" fmla="*/ 0 h 74795"/>
                <a:gd name="connsiteX7" fmla="*/ 84512 w 120816"/>
                <a:gd name="connsiteY7" fmla="*/ 42742 h 74795"/>
                <a:gd name="connsiteX8" fmla="*/ 100894 w 120816"/>
                <a:gd name="connsiteY8" fmla="*/ 0 h 74795"/>
                <a:gd name="connsiteX9" fmla="*/ 120817 w 120816"/>
                <a:gd name="connsiteY9" fmla="*/ 0 h 74795"/>
                <a:gd name="connsiteX10" fmla="*/ 91192 w 120816"/>
                <a:gd name="connsiteY10" fmla="*/ 74796 h 74795"/>
                <a:gd name="connsiteX11" fmla="*/ 76336 w 120816"/>
                <a:gd name="connsiteY11" fmla="*/ 74796 h 74795"/>
                <a:gd name="connsiteX12" fmla="*/ 60408 w 120816"/>
                <a:gd name="connsiteY12" fmla="*/ 32205 h 74795"/>
                <a:gd name="connsiteX13" fmla="*/ 44481 w 120816"/>
                <a:gd name="connsiteY13" fmla="*/ 74796 h 7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16" h="74795">
                  <a:moveTo>
                    <a:pt x="44481" y="74796"/>
                  </a:moveTo>
                  <a:lnTo>
                    <a:pt x="29625" y="74796"/>
                  </a:lnTo>
                  <a:lnTo>
                    <a:pt x="0" y="0"/>
                  </a:lnTo>
                  <a:lnTo>
                    <a:pt x="19917" y="0"/>
                  </a:lnTo>
                  <a:lnTo>
                    <a:pt x="36159" y="42742"/>
                  </a:lnTo>
                  <a:lnTo>
                    <a:pt x="52086" y="0"/>
                  </a:lnTo>
                  <a:lnTo>
                    <a:pt x="68730" y="0"/>
                  </a:lnTo>
                  <a:lnTo>
                    <a:pt x="84512" y="42742"/>
                  </a:lnTo>
                  <a:lnTo>
                    <a:pt x="100894" y="0"/>
                  </a:lnTo>
                  <a:lnTo>
                    <a:pt x="120817" y="0"/>
                  </a:lnTo>
                  <a:lnTo>
                    <a:pt x="91192" y="74796"/>
                  </a:lnTo>
                  <a:lnTo>
                    <a:pt x="76336" y="74796"/>
                  </a:lnTo>
                  <a:lnTo>
                    <a:pt x="60408" y="32205"/>
                  </a:lnTo>
                  <a:lnTo>
                    <a:pt x="44481" y="74796"/>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1" name="Freeform 110">
              <a:extLst>
                <a:ext uri="{FF2B5EF4-FFF2-40B4-BE49-F238E27FC236}">
                  <a16:creationId xmlns:a16="http://schemas.microsoft.com/office/drawing/2014/main" id="{0F605183-7EBE-7CE5-8507-8613B09AD861}"/>
                </a:ext>
              </a:extLst>
            </p:cNvPr>
            <p:cNvSpPr/>
            <p:nvPr/>
          </p:nvSpPr>
          <p:spPr>
            <a:xfrm>
              <a:off x="16745100" y="11435558"/>
              <a:ext cx="16149" cy="21479"/>
            </a:xfrm>
            <a:custGeom>
              <a:avLst/>
              <a:gdLst>
                <a:gd name="connsiteX0" fmla="*/ 3116 w 6528"/>
                <a:gd name="connsiteY0" fmla="*/ 5499 h 8682"/>
                <a:gd name="connsiteX1" fmla="*/ 1433 w 6528"/>
                <a:gd name="connsiteY1" fmla="*/ 5499 h 8682"/>
                <a:gd name="connsiteX2" fmla="*/ 1433 w 6528"/>
                <a:gd name="connsiteY2" fmla="*/ 8665 h 8682"/>
                <a:gd name="connsiteX3" fmla="*/ 0 w 6528"/>
                <a:gd name="connsiteY3" fmla="*/ 8665 h 8682"/>
                <a:gd name="connsiteX4" fmla="*/ 0 w 6528"/>
                <a:gd name="connsiteY4" fmla="*/ 0 h 8682"/>
                <a:gd name="connsiteX5" fmla="*/ 3494 w 6528"/>
                <a:gd name="connsiteY5" fmla="*/ 0 h 8682"/>
                <a:gd name="connsiteX6" fmla="*/ 6278 w 6528"/>
                <a:gd name="connsiteY6" fmla="*/ 2764 h 8682"/>
                <a:gd name="connsiteX7" fmla="*/ 6278 w 6528"/>
                <a:gd name="connsiteY7" fmla="*/ 2787 h 8682"/>
                <a:gd name="connsiteX8" fmla="*/ 4560 w 6528"/>
                <a:gd name="connsiteY8" fmla="*/ 5306 h 8682"/>
                <a:gd name="connsiteX9" fmla="*/ 6528 w 6528"/>
                <a:gd name="connsiteY9" fmla="*/ 8683 h 8682"/>
                <a:gd name="connsiteX10" fmla="*/ 4968 w 6528"/>
                <a:gd name="connsiteY10" fmla="*/ 8683 h 8682"/>
                <a:gd name="connsiteX11" fmla="*/ 1433 w 6528"/>
                <a:gd name="connsiteY11" fmla="*/ 4222 h 8682"/>
                <a:gd name="connsiteX12" fmla="*/ 3494 w 6528"/>
                <a:gd name="connsiteY12" fmla="*/ 4222 h 8682"/>
                <a:gd name="connsiteX13" fmla="*/ 4950 w 6528"/>
                <a:gd name="connsiteY13" fmla="*/ 2764 h 8682"/>
                <a:gd name="connsiteX14" fmla="*/ 3494 w 6528"/>
                <a:gd name="connsiteY14" fmla="*/ 1306 h 8682"/>
                <a:gd name="connsiteX15" fmla="*/ 1450 w 6528"/>
                <a:gd name="connsiteY15" fmla="*/ 1306 h 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28" h="8682">
                  <a:moveTo>
                    <a:pt x="3116" y="5499"/>
                  </a:moveTo>
                  <a:lnTo>
                    <a:pt x="1433" y="5499"/>
                  </a:lnTo>
                  <a:lnTo>
                    <a:pt x="1433" y="8665"/>
                  </a:lnTo>
                  <a:lnTo>
                    <a:pt x="0" y="8665"/>
                  </a:lnTo>
                  <a:lnTo>
                    <a:pt x="0" y="0"/>
                  </a:lnTo>
                  <a:lnTo>
                    <a:pt x="3494" y="0"/>
                  </a:lnTo>
                  <a:cubicBezTo>
                    <a:pt x="5026" y="-6"/>
                    <a:pt x="6272" y="1231"/>
                    <a:pt x="6278" y="2764"/>
                  </a:cubicBezTo>
                  <a:cubicBezTo>
                    <a:pt x="6278" y="2772"/>
                    <a:pt x="6278" y="2780"/>
                    <a:pt x="6278" y="2787"/>
                  </a:cubicBezTo>
                  <a:cubicBezTo>
                    <a:pt x="6272" y="3899"/>
                    <a:pt x="5591" y="4894"/>
                    <a:pt x="4560" y="5306"/>
                  </a:cubicBezTo>
                  <a:lnTo>
                    <a:pt x="6528" y="8683"/>
                  </a:lnTo>
                  <a:lnTo>
                    <a:pt x="4968" y="8683"/>
                  </a:lnTo>
                  <a:close/>
                  <a:moveTo>
                    <a:pt x="1433" y="4222"/>
                  </a:moveTo>
                  <a:lnTo>
                    <a:pt x="3494" y="4222"/>
                  </a:lnTo>
                  <a:cubicBezTo>
                    <a:pt x="4298" y="4222"/>
                    <a:pt x="4950" y="3569"/>
                    <a:pt x="4950" y="2764"/>
                  </a:cubicBezTo>
                  <a:cubicBezTo>
                    <a:pt x="4950" y="1959"/>
                    <a:pt x="4298" y="1306"/>
                    <a:pt x="3494" y="1306"/>
                  </a:cubicBezTo>
                  <a:lnTo>
                    <a:pt x="1450" y="1306"/>
                  </a:ln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2" name="Freeform 111">
              <a:extLst>
                <a:ext uri="{FF2B5EF4-FFF2-40B4-BE49-F238E27FC236}">
                  <a16:creationId xmlns:a16="http://schemas.microsoft.com/office/drawing/2014/main" id="{C830C29B-9541-FB67-80B9-5E4D10BB458C}"/>
                </a:ext>
              </a:extLst>
            </p:cNvPr>
            <p:cNvSpPr/>
            <p:nvPr/>
          </p:nvSpPr>
          <p:spPr>
            <a:xfrm>
              <a:off x="16729256" y="11423631"/>
              <a:ext cx="46100" cy="46159"/>
            </a:xfrm>
            <a:custGeom>
              <a:avLst/>
              <a:gdLst>
                <a:gd name="connsiteX0" fmla="*/ 9318 w 18635"/>
                <a:gd name="connsiteY0" fmla="*/ 1271 h 18659"/>
                <a:gd name="connsiteX1" fmla="*/ 17354 w 18635"/>
                <a:gd name="connsiteY1" fmla="*/ 9306 h 18659"/>
                <a:gd name="connsiteX2" fmla="*/ 9329 w 18635"/>
                <a:gd name="connsiteY2" fmla="*/ 17353 h 18659"/>
                <a:gd name="connsiteX3" fmla="*/ 1293 w 18635"/>
                <a:gd name="connsiteY3" fmla="*/ 9318 h 18659"/>
                <a:gd name="connsiteX4" fmla="*/ 1293 w 18635"/>
                <a:gd name="connsiteY4" fmla="*/ 9312 h 18659"/>
                <a:gd name="connsiteX5" fmla="*/ 9318 w 18635"/>
                <a:gd name="connsiteY5" fmla="*/ 1271 h 18659"/>
                <a:gd name="connsiteX6" fmla="*/ 9318 w 18635"/>
                <a:gd name="connsiteY6" fmla="*/ 0 h 18659"/>
                <a:gd name="connsiteX7" fmla="*/ 0 w 18635"/>
                <a:gd name="connsiteY7" fmla="*/ 9330 h 18659"/>
                <a:gd name="connsiteX8" fmla="*/ 9318 w 18635"/>
                <a:gd name="connsiteY8" fmla="*/ 18660 h 18659"/>
                <a:gd name="connsiteX9" fmla="*/ 18636 w 18635"/>
                <a:gd name="connsiteY9" fmla="*/ 9330 h 18659"/>
                <a:gd name="connsiteX10" fmla="*/ 9318 w 18635"/>
                <a:gd name="connsiteY10" fmla="*/ 0 h 1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35" h="18659">
                  <a:moveTo>
                    <a:pt x="9318" y="1271"/>
                  </a:moveTo>
                  <a:cubicBezTo>
                    <a:pt x="13755" y="1268"/>
                    <a:pt x="17349" y="4865"/>
                    <a:pt x="17354" y="9306"/>
                  </a:cubicBezTo>
                  <a:cubicBezTo>
                    <a:pt x="17360" y="13747"/>
                    <a:pt x="13767" y="17350"/>
                    <a:pt x="9329" y="17353"/>
                  </a:cubicBezTo>
                  <a:cubicBezTo>
                    <a:pt x="4892" y="17357"/>
                    <a:pt x="1299" y="13759"/>
                    <a:pt x="1293" y="9318"/>
                  </a:cubicBezTo>
                  <a:cubicBezTo>
                    <a:pt x="1293" y="9316"/>
                    <a:pt x="1293" y="9314"/>
                    <a:pt x="1293" y="9312"/>
                  </a:cubicBezTo>
                  <a:cubicBezTo>
                    <a:pt x="1299" y="4876"/>
                    <a:pt x="4886" y="1281"/>
                    <a:pt x="9318" y="1271"/>
                  </a:cubicBezTo>
                  <a:moveTo>
                    <a:pt x="9318" y="0"/>
                  </a:moveTo>
                  <a:cubicBezTo>
                    <a:pt x="4170" y="0"/>
                    <a:pt x="0" y="4177"/>
                    <a:pt x="0" y="9330"/>
                  </a:cubicBezTo>
                  <a:cubicBezTo>
                    <a:pt x="0" y="14483"/>
                    <a:pt x="4170" y="18660"/>
                    <a:pt x="9318" y="18660"/>
                  </a:cubicBezTo>
                  <a:cubicBezTo>
                    <a:pt x="14466" y="18660"/>
                    <a:pt x="18636" y="14483"/>
                    <a:pt x="18636" y="9330"/>
                  </a:cubicBezTo>
                  <a:cubicBezTo>
                    <a:pt x="18636" y="4177"/>
                    <a:pt x="14466" y="0"/>
                    <a:pt x="9318" y="0"/>
                  </a:cubicBezTo>
                  <a:close/>
                </a:path>
              </a:pathLst>
            </a:custGeom>
            <a:solidFill>
              <a:srgbClr val="000000"/>
            </a:solidFill>
            <a:ln w="5773"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grpSp>
      <p:grpSp>
        <p:nvGrpSpPr>
          <p:cNvPr id="83" name="Graphic 78">
            <a:extLst>
              <a:ext uri="{FF2B5EF4-FFF2-40B4-BE49-F238E27FC236}">
                <a16:creationId xmlns:a16="http://schemas.microsoft.com/office/drawing/2014/main" id="{D293AA9E-1394-9A06-963D-30DC6DE83DF5}"/>
              </a:ext>
            </a:extLst>
          </p:cNvPr>
          <p:cNvGrpSpPr/>
          <p:nvPr/>
        </p:nvGrpSpPr>
        <p:grpSpPr>
          <a:xfrm>
            <a:off x="7319917" y="4872147"/>
            <a:ext cx="294289" cy="206699"/>
            <a:chOff x="457939" y="6109138"/>
            <a:chExt cx="449703" cy="315854"/>
          </a:xfrm>
        </p:grpSpPr>
        <p:sp>
          <p:nvSpPr>
            <p:cNvPr id="84" name="Freeform 113">
              <a:extLst>
                <a:ext uri="{FF2B5EF4-FFF2-40B4-BE49-F238E27FC236}">
                  <a16:creationId xmlns:a16="http://schemas.microsoft.com/office/drawing/2014/main" id="{651913FA-49B1-1F0E-06BD-2FC0C2D5E9DA}"/>
                </a:ext>
              </a:extLst>
            </p:cNvPr>
            <p:cNvSpPr/>
            <p:nvPr/>
          </p:nvSpPr>
          <p:spPr>
            <a:xfrm>
              <a:off x="457939" y="6109138"/>
              <a:ext cx="449703" cy="315854"/>
            </a:xfrm>
            <a:custGeom>
              <a:avLst/>
              <a:gdLst>
                <a:gd name="connsiteX0" fmla="*/ 187126 w 449703"/>
                <a:gd name="connsiteY0" fmla="*/ 34396 h 315854"/>
                <a:gd name="connsiteX1" fmla="*/ 244136 w 449703"/>
                <a:gd name="connsiteY1" fmla="*/ 9861 h 315854"/>
                <a:gd name="connsiteX2" fmla="*/ 313540 w 449703"/>
                <a:gd name="connsiteY2" fmla="*/ 51139 h 315854"/>
                <a:gd name="connsiteX3" fmla="*/ 352704 w 449703"/>
                <a:gd name="connsiteY3" fmla="*/ 42768 h 315854"/>
                <a:gd name="connsiteX4" fmla="*/ 449704 w 449703"/>
                <a:gd name="connsiteY4" fmla="*/ 140908 h 315854"/>
                <a:gd name="connsiteX5" fmla="*/ 352704 w 449703"/>
                <a:gd name="connsiteY5" fmla="*/ 239049 h 315854"/>
                <a:gd name="connsiteX6" fmla="*/ 333535 w 449703"/>
                <a:gd name="connsiteY6" fmla="*/ 237143 h 315854"/>
                <a:gd name="connsiteX7" fmla="*/ 271733 w 449703"/>
                <a:gd name="connsiteY7" fmla="*/ 273614 h 315854"/>
                <a:gd name="connsiteX8" fmla="*/ 240666 w 449703"/>
                <a:gd name="connsiteY8" fmla="*/ 266453 h 315854"/>
                <a:gd name="connsiteX9" fmla="*/ 166305 w 449703"/>
                <a:gd name="connsiteY9" fmla="*/ 315855 h 315854"/>
                <a:gd name="connsiteX10" fmla="*/ 90456 w 449703"/>
                <a:gd name="connsiteY10" fmla="*/ 262805 h 315854"/>
                <a:gd name="connsiteX11" fmla="*/ 75022 w 449703"/>
                <a:gd name="connsiteY11" fmla="*/ 264417 h 315854"/>
                <a:gd name="connsiteX12" fmla="*/ 0 w 449703"/>
                <a:gd name="connsiteY12" fmla="*/ 188324 h 315854"/>
                <a:gd name="connsiteX13" fmla="*/ 37511 w 449703"/>
                <a:gd name="connsiteY13" fmla="*/ 122345 h 315854"/>
                <a:gd name="connsiteX14" fmla="*/ 30323 w 449703"/>
                <a:gd name="connsiteY14" fmla="*/ 87531 h 315854"/>
                <a:gd name="connsiteX15" fmla="*/ 117739 w 449703"/>
                <a:gd name="connsiteY15" fmla="*/ 0 h 315854"/>
                <a:gd name="connsiteX16" fmla="*/ 187143 w 449703"/>
                <a:gd name="connsiteY16" fmla="*/ 34482 h 31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9703" h="315854">
                  <a:moveTo>
                    <a:pt x="187126" y="34396"/>
                  </a:moveTo>
                  <a:cubicBezTo>
                    <a:pt x="201635" y="19244"/>
                    <a:pt x="221828" y="9861"/>
                    <a:pt x="244136" y="9861"/>
                  </a:cubicBezTo>
                  <a:cubicBezTo>
                    <a:pt x="273881" y="9861"/>
                    <a:pt x="299659" y="26438"/>
                    <a:pt x="313540" y="51139"/>
                  </a:cubicBezTo>
                  <a:cubicBezTo>
                    <a:pt x="325861" y="45613"/>
                    <a:pt x="339208" y="42761"/>
                    <a:pt x="352704" y="42768"/>
                  </a:cubicBezTo>
                  <a:cubicBezTo>
                    <a:pt x="406244" y="42768"/>
                    <a:pt x="449704" y="86699"/>
                    <a:pt x="449704" y="140908"/>
                  </a:cubicBezTo>
                  <a:cubicBezTo>
                    <a:pt x="449704" y="195118"/>
                    <a:pt x="406244" y="239049"/>
                    <a:pt x="352704" y="239049"/>
                  </a:cubicBezTo>
                  <a:cubicBezTo>
                    <a:pt x="346160" y="239049"/>
                    <a:pt x="339781" y="238390"/>
                    <a:pt x="333535" y="237143"/>
                  </a:cubicBezTo>
                  <a:cubicBezTo>
                    <a:pt x="321389" y="258860"/>
                    <a:pt x="298172" y="273614"/>
                    <a:pt x="271733" y="273614"/>
                  </a:cubicBezTo>
                  <a:cubicBezTo>
                    <a:pt x="260968" y="273636"/>
                    <a:pt x="250341" y="271186"/>
                    <a:pt x="240666" y="266453"/>
                  </a:cubicBezTo>
                  <a:cubicBezTo>
                    <a:pt x="228355" y="295464"/>
                    <a:pt x="199685" y="315855"/>
                    <a:pt x="166305" y="315855"/>
                  </a:cubicBezTo>
                  <a:cubicBezTo>
                    <a:pt x="131438" y="315855"/>
                    <a:pt x="101858" y="293806"/>
                    <a:pt x="90456" y="262805"/>
                  </a:cubicBezTo>
                  <a:cubicBezTo>
                    <a:pt x="85382" y="263880"/>
                    <a:pt x="80209" y="264420"/>
                    <a:pt x="75022" y="264417"/>
                  </a:cubicBezTo>
                  <a:cubicBezTo>
                    <a:pt x="33545" y="264417"/>
                    <a:pt x="0" y="230266"/>
                    <a:pt x="0" y="188324"/>
                  </a:cubicBezTo>
                  <a:cubicBezTo>
                    <a:pt x="0" y="160142"/>
                    <a:pt x="15104" y="135607"/>
                    <a:pt x="37511" y="122345"/>
                  </a:cubicBezTo>
                  <a:cubicBezTo>
                    <a:pt x="32757" y="111358"/>
                    <a:pt x="30310" y="99508"/>
                    <a:pt x="30323" y="87531"/>
                  </a:cubicBezTo>
                  <a:cubicBezTo>
                    <a:pt x="30323" y="39124"/>
                    <a:pt x="69486" y="0"/>
                    <a:pt x="117739" y="0"/>
                  </a:cubicBezTo>
                  <a:cubicBezTo>
                    <a:pt x="145996" y="0"/>
                    <a:pt x="171279" y="13511"/>
                    <a:pt x="187143" y="34482"/>
                  </a:cubicBezTo>
                </a:path>
              </a:pathLst>
            </a:custGeom>
            <a:solidFill>
              <a:srgbClr val="00A1E0"/>
            </a:solidFill>
            <a:ln w="1640"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5" name="Freeform 114">
              <a:extLst>
                <a:ext uri="{FF2B5EF4-FFF2-40B4-BE49-F238E27FC236}">
                  <a16:creationId xmlns:a16="http://schemas.microsoft.com/office/drawing/2014/main" id="{62D51552-2297-3D49-B21F-F593ACB4CCB2}"/>
                </a:ext>
              </a:extLst>
            </p:cNvPr>
            <p:cNvSpPr/>
            <p:nvPr/>
          </p:nvSpPr>
          <p:spPr>
            <a:xfrm>
              <a:off x="523341" y="6235981"/>
              <a:ext cx="338744" cy="42590"/>
            </a:xfrm>
            <a:custGeom>
              <a:avLst/>
              <a:gdLst>
                <a:gd name="connsiteX0" fmla="*/ 102 w 338744"/>
                <a:gd name="connsiteY0" fmla="*/ 36859 h 42590"/>
                <a:gd name="connsiteX1" fmla="*/ 294 w 338744"/>
                <a:gd name="connsiteY1" fmla="*/ 37884 h 42590"/>
                <a:gd name="connsiteX2" fmla="*/ 2855 w 338744"/>
                <a:gd name="connsiteY2" fmla="*/ 39440 h 42590"/>
                <a:gd name="connsiteX3" fmla="*/ 16306 w 338744"/>
                <a:gd name="connsiteY3" fmla="*/ 42590 h 42590"/>
                <a:gd name="connsiteX4" fmla="*/ 31261 w 338744"/>
                <a:gd name="connsiteY4" fmla="*/ 29742 h 42590"/>
                <a:gd name="connsiteX5" fmla="*/ 31261 w 338744"/>
                <a:gd name="connsiteY5" fmla="*/ 29586 h 42590"/>
                <a:gd name="connsiteX6" fmla="*/ 18735 w 338744"/>
                <a:gd name="connsiteY6" fmla="*/ 17684 h 42590"/>
                <a:gd name="connsiteX7" fmla="*/ 17944 w 338744"/>
                <a:gd name="connsiteY7" fmla="*/ 17427 h 42590"/>
                <a:gd name="connsiteX8" fmla="*/ 9417 w 338744"/>
                <a:gd name="connsiteY8" fmla="*/ 11624 h 42590"/>
                <a:gd name="connsiteX9" fmla="*/ 9417 w 338744"/>
                <a:gd name="connsiteY9" fmla="*/ 11470 h 42590"/>
                <a:gd name="connsiteX10" fmla="*/ 15300 w 338744"/>
                <a:gd name="connsiteY10" fmla="*/ 6978 h 42590"/>
                <a:gd name="connsiteX11" fmla="*/ 27016 w 338744"/>
                <a:gd name="connsiteY11" fmla="*/ 9978 h 42590"/>
                <a:gd name="connsiteX12" fmla="*/ 28237 w 338744"/>
                <a:gd name="connsiteY12" fmla="*/ 9691 h 42590"/>
                <a:gd name="connsiteX13" fmla="*/ 30121 w 338744"/>
                <a:gd name="connsiteY13" fmla="*/ 4619 h 42590"/>
                <a:gd name="connsiteX14" fmla="*/ 29673 w 338744"/>
                <a:gd name="connsiteY14" fmla="*/ 3577 h 42590"/>
                <a:gd name="connsiteX15" fmla="*/ 16453 w 338744"/>
                <a:gd name="connsiteY15" fmla="*/ 13 h 42590"/>
                <a:gd name="connsiteX16" fmla="*/ 15533 w 338744"/>
                <a:gd name="connsiteY16" fmla="*/ 17 h 42590"/>
                <a:gd name="connsiteX17" fmla="*/ 1190 w 338744"/>
                <a:gd name="connsiteY17" fmla="*/ 12467 h 42590"/>
                <a:gd name="connsiteX18" fmla="*/ 1190 w 338744"/>
                <a:gd name="connsiteY18" fmla="*/ 12624 h 42590"/>
                <a:gd name="connsiteX19" fmla="*/ 13781 w 338744"/>
                <a:gd name="connsiteY19" fmla="*/ 24610 h 42590"/>
                <a:gd name="connsiteX20" fmla="*/ 14760 w 338744"/>
                <a:gd name="connsiteY20" fmla="*/ 24915 h 42590"/>
                <a:gd name="connsiteX21" fmla="*/ 23022 w 338744"/>
                <a:gd name="connsiteY21" fmla="*/ 30584 h 42590"/>
                <a:gd name="connsiteX22" fmla="*/ 23022 w 338744"/>
                <a:gd name="connsiteY22" fmla="*/ 30740 h 42590"/>
                <a:gd name="connsiteX23" fmla="*/ 16528 w 338744"/>
                <a:gd name="connsiteY23" fmla="*/ 35747 h 42590"/>
                <a:gd name="connsiteX24" fmla="*/ 4647 w 338744"/>
                <a:gd name="connsiteY24" fmla="*/ 32315 h 42590"/>
                <a:gd name="connsiteX25" fmla="*/ 3126 w 338744"/>
                <a:gd name="connsiteY25" fmla="*/ 31355 h 42590"/>
                <a:gd name="connsiteX26" fmla="*/ 1913 w 338744"/>
                <a:gd name="connsiteY26" fmla="*/ 31773 h 42590"/>
                <a:gd name="connsiteX27" fmla="*/ 96 w 338744"/>
                <a:gd name="connsiteY27" fmla="*/ 36846 h 42590"/>
                <a:gd name="connsiteX28" fmla="*/ 135103 w 338744"/>
                <a:gd name="connsiteY28" fmla="*/ 36846 h 42590"/>
                <a:gd name="connsiteX29" fmla="*/ 135298 w 338744"/>
                <a:gd name="connsiteY29" fmla="*/ 37870 h 42590"/>
                <a:gd name="connsiteX30" fmla="*/ 137859 w 338744"/>
                <a:gd name="connsiteY30" fmla="*/ 39427 h 42590"/>
                <a:gd name="connsiteX31" fmla="*/ 151310 w 338744"/>
                <a:gd name="connsiteY31" fmla="*/ 42577 h 42590"/>
                <a:gd name="connsiteX32" fmla="*/ 166265 w 338744"/>
                <a:gd name="connsiteY32" fmla="*/ 29729 h 42590"/>
                <a:gd name="connsiteX33" fmla="*/ 166265 w 338744"/>
                <a:gd name="connsiteY33" fmla="*/ 29573 h 42590"/>
                <a:gd name="connsiteX34" fmla="*/ 153739 w 338744"/>
                <a:gd name="connsiteY34" fmla="*/ 17670 h 42590"/>
                <a:gd name="connsiteX35" fmla="*/ 152948 w 338744"/>
                <a:gd name="connsiteY35" fmla="*/ 17413 h 42590"/>
                <a:gd name="connsiteX36" fmla="*/ 144421 w 338744"/>
                <a:gd name="connsiteY36" fmla="*/ 11611 h 42590"/>
                <a:gd name="connsiteX37" fmla="*/ 144421 w 338744"/>
                <a:gd name="connsiteY37" fmla="*/ 11457 h 42590"/>
                <a:gd name="connsiteX38" fmla="*/ 150304 w 338744"/>
                <a:gd name="connsiteY38" fmla="*/ 6964 h 42590"/>
                <a:gd name="connsiteX39" fmla="*/ 162020 w 338744"/>
                <a:gd name="connsiteY39" fmla="*/ 9965 h 42590"/>
                <a:gd name="connsiteX40" fmla="*/ 163243 w 338744"/>
                <a:gd name="connsiteY40" fmla="*/ 9678 h 42590"/>
                <a:gd name="connsiteX41" fmla="*/ 165110 w 338744"/>
                <a:gd name="connsiteY41" fmla="*/ 4605 h 42590"/>
                <a:gd name="connsiteX42" fmla="*/ 164664 w 338744"/>
                <a:gd name="connsiteY42" fmla="*/ 3564 h 42590"/>
                <a:gd name="connsiteX43" fmla="*/ 151444 w 338744"/>
                <a:gd name="connsiteY43" fmla="*/ 0 h 42590"/>
                <a:gd name="connsiteX44" fmla="*/ 150522 w 338744"/>
                <a:gd name="connsiteY44" fmla="*/ 3 h 42590"/>
                <a:gd name="connsiteX45" fmla="*/ 136178 w 338744"/>
                <a:gd name="connsiteY45" fmla="*/ 12453 h 42590"/>
                <a:gd name="connsiteX46" fmla="*/ 136178 w 338744"/>
                <a:gd name="connsiteY46" fmla="*/ 12611 h 42590"/>
                <a:gd name="connsiteX47" fmla="*/ 148770 w 338744"/>
                <a:gd name="connsiteY47" fmla="*/ 24597 h 42590"/>
                <a:gd name="connsiteX48" fmla="*/ 149747 w 338744"/>
                <a:gd name="connsiteY48" fmla="*/ 24902 h 42590"/>
                <a:gd name="connsiteX49" fmla="*/ 158009 w 338744"/>
                <a:gd name="connsiteY49" fmla="*/ 30571 h 42590"/>
                <a:gd name="connsiteX50" fmla="*/ 158009 w 338744"/>
                <a:gd name="connsiteY50" fmla="*/ 30727 h 42590"/>
                <a:gd name="connsiteX51" fmla="*/ 151515 w 338744"/>
                <a:gd name="connsiteY51" fmla="*/ 35734 h 42590"/>
                <a:gd name="connsiteX52" fmla="*/ 139634 w 338744"/>
                <a:gd name="connsiteY52" fmla="*/ 32302 h 42590"/>
                <a:gd name="connsiteX53" fmla="*/ 138112 w 338744"/>
                <a:gd name="connsiteY53" fmla="*/ 31342 h 42590"/>
                <a:gd name="connsiteX54" fmla="*/ 136900 w 338744"/>
                <a:gd name="connsiteY54" fmla="*/ 31760 h 42590"/>
                <a:gd name="connsiteX55" fmla="*/ 135083 w 338744"/>
                <a:gd name="connsiteY55" fmla="*/ 36833 h 42590"/>
                <a:gd name="connsiteX56" fmla="*/ 227291 w 338744"/>
                <a:gd name="connsiteY56" fmla="*/ 21316 h 42590"/>
                <a:gd name="connsiteX57" fmla="*/ 224829 w 338744"/>
                <a:gd name="connsiteY57" fmla="*/ 31826 h 42590"/>
                <a:gd name="connsiteX58" fmla="*/ 217326 w 338744"/>
                <a:gd name="connsiteY58" fmla="*/ 35506 h 42590"/>
                <a:gd name="connsiteX59" fmla="*/ 209857 w 338744"/>
                <a:gd name="connsiteY59" fmla="*/ 31843 h 42590"/>
                <a:gd name="connsiteX60" fmla="*/ 207428 w 338744"/>
                <a:gd name="connsiteY60" fmla="*/ 21332 h 42590"/>
                <a:gd name="connsiteX61" fmla="*/ 209857 w 338744"/>
                <a:gd name="connsiteY61" fmla="*/ 10872 h 42590"/>
                <a:gd name="connsiteX62" fmla="*/ 217326 w 338744"/>
                <a:gd name="connsiteY62" fmla="*/ 7241 h 42590"/>
                <a:gd name="connsiteX63" fmla="*/ 224829 w 338744"/>
                <a:gd name="connsiteY63" fmla="*/ 10872 h 42590"/>
                <a:gd name="connsiteX64" fmla="*/ 227291 w 338744"/>
                <a:gd name="connsiteY64" fmla="*/ 21332 h 42590"/>
                <a:gd name="connsiteX65" fmla="*/ 234991 w 338744"/>
                <a:gd name="connsiteY65" fmla="*/ 13027 h 42590"/>
                <a:gd name="connsiteX66" fmla="*/ 231488 w 338744"/>
                <a:gd name="connsiteY66" fmla="*/ 6313 h 42590"/>
                <a:gd name="connsiteX67" fmla="*/ 225572 w 338744"/>
                <a:gd name="connsiteY67" fmla="*/ 1804 h 42590"/>
                <a:gd name="connsiteX68" fmla="*/ 217310 w 338744"/>
                <a:gd name="connsiteY68" fmla="*/ 146 h 42590"/>
                <a:gd name="connsiteX69" fmla="*/ 209047 w 338744"/>
                <a:gd name="connsiteY69" fmla="*/ 1804 h 42590"/>
                <a:gd name="connsiteX70" fmla="*/ 203132 w 338744"/>
                <a:gd name="connsiteY70" fmla="*/ 6313 h 42590"/>
                <a:gd name="connsiteX71" fmla="*/ 199628 w 338744"/>
                <a:gd name="connsiteY71" fmla="*/ 13027 h 42590"/>
                <a:gd name="connsiteX72" fmla="*/ 198495 w 338744"/>
                <a:gd name="connsiteY72" fmla="*/ 21332 h 42590"/>
                <a:gd name="connsiteX73" fmla="*/ 199628 w 338744"/>
                <a:gd name="connsiteY73" fmla="*/ 29638 h 42590"/>
                <a:gd name="connsiteX74" fmla="*/ 203132 w 338744"/>
                <a:gd name="connsiteY74" fmla="*/ 36352 h 42590"/>
                <a:gd name="connsiteX75" fmla="*/ 209047 w 338744"/>
                <a:gd name="connsiteY75" fmla="*/ 40828 h 42590"/>
                <a:gd name="connsiteX76" fmla="*/ 217310 w 338744"/>
                <a:gd name="connsiteY76" fmla="*/ 42449 h 42590"/>
                <a:gd name="connsiteX77" fmla="*/ 225556 w 338744"/>
                <a:gd name="connsiteY77" fmla="*/ 40828 h 42590"/>
                <a:gd name="connsiteX78" fmla="*/ 231471 w 338744"/>
                <a:gd name="connsiteY78" fmla="*/ 36352 h 42590"/>
                <a:gd name="connsiteX79" fmla="*/ 234975 w 338744"/>
                <a:gd name="connsiteY79" fmla="*/ 29638 h 42590"/>
                <a:gd name="connsiteX80" fmla="*/ 236107 w 338744"/>
                <a:gd name="connsiteY80" fmla="*/ 21332 h 42590"/>
                <a:gd name="connsiteX81" fmla="*/ 234975 w 338744"/>
                <a:gd name="connsiteY81" fmla="*/ 13027 h 42590"/>
                <a:gd name="connsiteX82" fmla="*/ 298264 w 338744"/>
                <a:gd name="connsiteY82" fmla="*/ 34247 h 42590"/>
                <a:gd name="connsiteX83" fmla="*/ 297281 w 338744"/>
                <a:gd name="connsiteY83" fmla="*/ 33779 h 42590"/>
                <a:gd name="connsiteX84" fmla="*/ 293695 w 338744"/>
                <a:gd name="connsiteY84" fmla="*/ 34805 h 42590"/>
                <a:gd name="connsiteX85" fmla="*/ 289482 w 338744"/>
                <a:gd name="connsiteY85" fmla="*/ 35109 h 42590"/>
                <a:gd name="connsiteX86" fmla="*/ 280674 w 338744"/>
                <a:gd name="connsiteY86" fmla="*/ 31793 h 42590"/>
                <a:gd name="connsiteX87" fmla="*/ 277369 w 338744"/>
                <a:gd name="connsiteY87" fmla="*/ 21233 h 42590"/>
                <a:gd name="connsiteX88" fmla="*/ 280327 w 338744"/>
                <a:gd name="connsiteY88" fmla="*/ 11054 h 42590"/>
                <a:gd name="connsiteX89" fmla="*/ 288870 w 338744"/>
                <a:gd name="connsiteY89" fmla="*/ 7274 h 42590"/>
                <a:gd name="connsiteX90" fmla="*/ 297017 w 338744"/>
                <a:gd name="connsiteY90" fmla="*/ 8443 h 42590"/>
                <a:gd name="connsiteX91" fmla="*/ 297909 w 338744"/>
                <a:gd name="connsiteY91" fmla="*/ 7909 h 42590"/>
                <a:gd name="connsiteX92" fmla="*/ 299810 w 338744"/>
                <a:gd name="connsiteY92" fmla="*/ 2638 h 42590"/>
                <a:gd name="connsiteX93" fmla="*/ 299329 w 338744"/>
                <a:gd name="connsiteY93" fmla="*/ 1729 h 42590"/>
                <a:gd name="connsiteX94" fmla="*/ 294189 w 338744"/>
                <a:gd name="connsiteY94" fmla="*/ 426 h 42590"/>
                <a:gd name="connsiteX95" fmla="*/ 288406 w 338744"/>
                <a:gd name="connsiteY95" fmla="*/ 38 h 42590"/>
                <a:gd name="connsiteX96" fmla="*/ 279829 w 338744"/>
                <a:gd name="connsiteY96" fmla="*/ 1694 h 42590"/>
                <a:gd name="connsiteX97" fmla="*/ 273633 w 338744"/>
                <a:gd name="connsiteY97" fmla="*/ 6203 h 42590"/>
                <a:gd name="connsiteX98" fmla="*/ 269882 w 338744"/>
                <a:gd name="connsiteY98" fmla="*/ 12917 h 42590"/>
                <a:gd name="connsiteX99" fmla="*/ 268626 w 338744"/>
                <a:gd name="connsiteY99" fmla="*/ 21240 h 42590"/>
                <a:gd name="connsiteX100" fmla="*/ 273748 w 338744"/>
                <a:gd name="connsiteY100" fmla="*/ 36624 h 42590"/>
                <a:gd name="connsiteX101" fmla="*/ 288951 w 338744"/>
                <a:gd name="connsiteY101" fmla="*/ 42360 h 42590"/>
                <a:gd name="connsiteX102" fmla="*/ 299857 w 338744"/>
                <a:gd name="connsiteY102" fmla="*/ 40404 h 42590"/>
                <a:gd name="connsiteX103" fmla="*/ 300171 w 338744"/>
                <a:gd name="connsiteY103" fmla="*/ 39485 h 42590"/>
                <a:gd name="connsiteX104" fmla="*/ 298271 w 338744"/>
                <a:gd name="connsiteY104" fmla="*/ 34247 h 42590"/>
                <a:gd name="connsiteX105" fmla="*/ 311739 w 338744"/>
                <a:gd name="connsiteY105" fmla="*/ 17006 h 42590"/>
                <a:gd name="connsiteX106" fmla="*/ 313854 w 338744"/>
                <a:gd name="connsiteY106" fmla="*/ 10839 h 42590"/>
                <a:gd name="connsiteX107" fmla="*/ 321307 w 338744"/>
                <a:gd name="connsiteY107" fmla="*/ 7042 h 42590"/>
                <a:gd name="connsiteX108" fmla="*/ 328610 w 338744"/>
                <a:gd name="connsiteY108" fmla="*/ 10839 h 42590"/>
                <a:gd name="connsiteX109" fmla="*/ 330329 w 338744"/>
                <a:gd name="connsiteY109" fmla="*/ 17006 h 42590"/>
                <a:gd name="connsiteX110" fmla="*/ 311656 w 338744"/>
                <a:gd name="connsiteY110" fmla="*/ 17002 h 42590"/>
                <a:gd name="connsiteX111" fmla="*/ 337683 w 338744"/>
                <a:gd name="connsiteY111" fmla="*/ 11535 h 42590"/>
                <a:gd name="connsiteX112" fmla="*/ 334345 w 338744"/>
                <a:gd name="connsiteY112" fmla="*/ 5418 h 42590"/>
                <a:gd name="connsiteX113" fmla="*/ 329387 w 338744"/>
                <a:gd name="connsiteY113" fmla="*/ 1638 h 42590"/>
                <a:gd name="connsiteX114" fmla="*/ 321918 w 338744"/>
                <a:gd name="connsiteY114" fmla="*/ 118 h 42590"/>
                <a:gd name="connsiteX115" fmla="*/ 313309 w 338744"/>
                <a:gd name="connsiteY115" fmla="*/ 1792 h 42590"/>
                <a:gd name="connsiteX116" fmla="*/ 307310 w 338744"/>
                <a:gd name="connsiteY116" fmla="*/ 6384 h 42590"/>
                <a:gd name="connsiteX117" fmla="*/ 303774 w 338744"/>
                <a:gd name="connsiteY117" fmla="*/ 13181 h 42590"/>
                <a:gd name="connsiteX118" fmla="*/ 302630 w 338744"/>
                <a:gd name="connsiteY118" fmla="*/ 21520 h 42590"/>
                <a:gd name="connsiteX119" fmla="*/ 303812 w 338744"/>
                <a:gd name="connsiteY119" fmla="*/ 29875 h 42590"/>
                <a:gd name="connsiteX120" fmla="*/ 307596 w 338744"/>
                <a:gd name="connsiteY120" fmla="*/ 36523 h 42590"/>
                <a:gd name="connsiteX121" fmla="*/ 314156 w 338744"/>
                <a:gd name="connsiteY121" fmla="*/ 40883 h 42590"/>
                <a:gd name="connsiteX122" fmla="*/ 323625 w 338744"/>
                <a:gd name="connsiteY122" fmla="*/ 42419 h 42590"/>
                <a:gd name="connsiteX123" fmla="*/ 336746 w 338744"/>
                <a:gd name="connsiteY123" fmla="*/ 39800 h 42590"/>
                <a:gd name="connsiteX124" fmla="*/ 336967 w 338744"/>
                <a:gd name="connsiteY124" fmla="*/ 38550 h 42590"/>
                <a:gd name="connsiteX125" fmla="*/ 335265 w 338744"/>
                <a:gd name="connsiteY125" fmla="*/ 33759 h 42590"/>
                <a:gd name="connsiteX126" fmla="*/ 334283 w 338744"/>
                <a:gd name="connsiteY126" fmla="*/ 33303 h 42590"/>
                <a:gd name="connsiteX127" fmla="*/ 323575 w 338744"/>
                <a:gd name="connsiteY127" fmla="*/ 35243 h 42590"/>
                <a:gd name="connsiteX128" fmla="*/ 314652 w 338744"/>
                <a:gd name="connsiteY128" fmla="*/ 32159 h 42590"/>
                <a:gd name="connsiteX129" fmla="*/ 311628 w 338744"/>
                <a:gd name="connsiteY129" fmla="*/ 23456 h 42590"/>
                <a:gd name="connsiteX130" fmla="*/ 337737 w 338744"/>
                <a:gd name="connsiteY130" fmla="*/ 23476 h 42590"/>
                <a:gd name="connsiteX131" fmla="*/ 338496 w 338744"/>
                <a:gd name="connsiteY131" fmla="*/ 22796 h 42590"/>
                <a:gd name="connsiteX132" fmla="*/ 337717 w 338744"/>
                <a:gd name="connsiteY132" fmla="*/ 11540 h 42590"/>
                <a:gd name="connsiteX133" fmla="*/ 103031 w 338744"/>
                <a:gd name="connsiteY133" fmla="*/ 17006 h 42590"/>
                <a:gd name="connsiteX134" fmla="*/ 105147 w 338744"/>
                <a:gd name="connsiteY134" fmla="*/ 10839 h 42590"/>
                <a:gd name="connsiteX135" fmla="*/ 112599 w 338744"/>
                <a:gd name="connsiteY135" fmla="*/ 7042 h 42590"/>
                <a:gd name="connsiteX136" fmla="*/ 119903 w 338744"/>
                <a:gd name="connsiteY136" fmla="*/ 10839 h 42590"/>
                <a:gd name="connsiteX137" fmla="*/ 121622 w 338744"/>
                <a:gd name="connsiteY137" fmla="*/ 17006 h 42590"/>
                <a:gd name="connsiteX138" fmla="*/ 102949 w 338744"/>
                <a:gd name="connsiteY138" fmla="*/ 17002 h 42590"/>
                <a:gd name="connsiteX139" fmla="*/ 128975 w 338744"/>
                <a:gd name="connsiteY139" fmla="*/ 11535 h 42590"/>
                <a:gd name="connsiteX140" fmla="*/ 125637 w 338744"/>
                <a:gd name="connsiteY140" fmla="*/ 5418 h 42590"/>
                <a:gd name="connsiteX141" fmla="*/ 120680 w 338744"/>
                <a:gd name="connsiteY141" fmla="*/ 1638 h 42590"/>
                <a:gd name="connsiteX142" fmla="*/ 113211 w 338744"/>
                <a:gd name="connsiteY142" fmla="*/ 118 h 42590"/>
                <a:gd name="connsiteX143" fmla="*/ 104601 w 338744"/>
                <a:gd name="connsiteY143" fmla="*/ 1792 h 42590"/>
                <a:gd name="connsiteX144" fmla="*/ 98603 w 338744"/>
                <a:gd name="connsiteY144" fmla="*/ 6384 h 42590"/>
                <a:gd name="connsiteX145" fmla="*/ 95066 w 338744"/>
                <a:gd name="connsiteY145" fmla="*/ 13181 h 42590"/>
                <a:gd name="connsiteX146" fmla="*/ 93926 w 338744"/>
                <a:gd name="connsiteY146" fmla="*/ 21520 h 42590"/>
                <a:gd name="connsiteX147" fmla="*/ 95109 w 338744"/>
                <a:gd name="connsiteY147" fmla="*/ 29875 h 42590"/>
                <a:gd name="connsiteX148" fmla="*/ 98877 w 338744"/>
                <a:gd name="connsiteY148" fmla="*/ 36523 h 42590"/>
                <a:gd name="connsiteX149" fmla="*/ 105437 w 338744"/>
                <a:gd name="connsiteY149" fmla="*/ 40883 h 42590"/>
                <a:gd name="connsiteX150" fmla="*/ 114906 w 338744"/>
                <a:gd name="connsiteY150" fmla="*/ 42419 h 42590"/>
                <a:gd name="connsiteX151" fmla="*/ 128027 w 338744"/>
                <a:gd name="connsiteY151" fmla="*/ 39800 h 42590"/>
                <a:gd name="connsiteX152" fmla="*/ 128246 w 338744"/>
                <a:gd name="connsiteY152" fmla="*/ 38550 h 42590"/>
                <a:gd name="connsiteX153" fmla="*/ 126544 w 338744"/>
                <a:gd name="connsiteY153" fmla="*/ 33759 h 42590"/>
                <a:gd name="connsiteX154" fmla="*/ 125561 w 338744"/>
                <a:gd name="connsiteY154" fmla="*/ 33303 h 42590"/>
                <a:gd name="connsiteX155" fmla="*/ 114853 w 338744"/>
                <a:gd name="connsiteY155" fmla="*/ 35243 h 42590"/>
                <a:gd name="connsiteX156" fmla="*/ 105930 w 338744"/>
                <a:gd name="connsiteY156" fmla="*/ 32159 h 42590"/>
                <a:gd name="connsiteX157" fmla="*/ 102906 w 338744"/>
                <a:gd name="connsiteY157" fmla="*/ 23456 h 42590"/>
                <a:gd name="connsiteX158" fmla="*/ 129015 w 338744"/>
                <a:gd name="connsiteY158" fmla="*/ 23476 h 42590"/>
                <a:gd name="connsiteX159" fmla="*/ 129773 w 338744"/>
                <a:gd name="connsiteY159" fmla="*/ 22796 h 42590"/>
                <a:gd name="connsiteX160" fmla="*/ 128993 w 338744"/>
                <a:gd name="connsiteY160" fmla="*/ 11540 h 42590"/>
                <a:gd name="connsiteX161" fmla="*/ 46682 w 338744"/>
                <a:gd name="connsiteY161" fmla="*/ 34081 h 42590"/>
                <a:gd name="connsiteX162" fmla="*/ 45178 w 338744"/>
                <a:gd name="connsiteY162" fmla="*/ 32529 h 42590"/>
                <a:gd name="connsiteX163" fmla="*/ 44397 w 338744"/>
                <a:gd name="connsiteY163" fmla="*/ 29131 h 42590"/>
                <a:gd name="connsiteX164" fmla="*/ 46727 w 338744"/>
                <a:gd name="connsiteY164" fmla="*/ 24074 h 42590"/>
                <a:gd name="connsiteX165" fmla="*/ 54295 w 338744"/>
                <a:gd name="connsiteY165" fmla="*/ 22184 h 42590"/>
                <a:gd name="connsiteX166" fmla="*/ 61368 w 338744"/>
                <a:gd name="connsiteY166" fmla="*/ 22790 h 42590"/>
                <a:gd name="connsiteX167" fmla="*/ 61368 w 338744"/>
                <a:gd name="connsiteY167" fmla="*/ 34676 h 42590"/>
                <a:gd name="connsiteX168" fmla="*/ 61371 w 338744"/>
                <a:gd name="connsiteY168" fmla="*/ 34676 h 42590"/>
                <a:gd name="connsiteX169" fmla="*/ 54331 w 338744"/>
                <a:gd name="connsiteY169" fmla="*/ 35616 h 42590"/>
                <a:gd name="connsiteX170" fmla="*/ 46697 w 338744"/>
                <a:gd name="connsiteY170" fmla="*/ 34089 h 42590"/>
                <a:gd name="connsiteX171" fmla="*/ 57060 w 338744"/>
                <a:gd name="connsiteY171" fmla="*/ 15679 h 42590"/>
                <a:gd name="connsiteX172" fmla="*/ 52995 w 338744"/>
                <a:gd name="connsiteY172" fmla="*/ 15563 h 42590"/>
                <a:gd name="connsiteX173" fmla="*/ 46583 w 338744"/>
                <a:gd name="connsiteY173" fmla="*/ 16389 h 42590"/>
                <a:gd name="connsiteX174" fmla="*/ 41146 w 338744"/>
                <a:gd name="connsiteY174" fmla="*/ 18925 h 42590"/>
                <a:gd name="connsiteX175" fmla="*/ 37362 w 338744"/>
                <a:gd name="connsiteY175" fmla="*/ 23236 h 42590"/>
                <a:gd name="connsiteX176" fmla="*/ 35967 w 338744"/>
                <a:gd name="connsiteY176" fmla="*/ 29270 h 42590"/>
                <a:gd name="connsiteX177" fmla="*/ 37162 w 338744"/>
                <a:gd name="connsiteY177" fmla="*/ 35238 h 42590"/>
                <a:gd name="connsiteX178" fmla="*/ 40566 w 338744"/>
                <a:gd name="connsiteY178" fmla="*/ 39333 h 42590"/>
                <a:gd name="connsiteX179" fmla="*/ 45871 w 338744"/>
                <a:gd name="connsiteY179" fmla="*/ 41637 h 42590"/>
                <a:gd name="connsiteX180" fmla="*/ 52778 w 338744"/>
                <a:gd name="connsiteY180" fmla="*/ 42343 h 42590"/>
                <a:gd name="connsiteX181" fmla="*/ 60693 w 338744"/>
                <a:gd name="connsiteY181" fmla="*/ 41682 h 42590"/>
                <a:gd name="connsiteX182" fmla="*/ 67254 w 338744"/>
                <a:gd name="connsiteY182" fmla="*/ 40402 h 42590"/>
                <a:gd name="connsiteX183" fmla="*/ 69088 w 338744"/>
                <a:gd name="connsiteY183" fmla="*/ 39938 h 42590"/>
                <a:gd name="connsiteX184" fmla="*/ 69683 w 338744"/>
                <a:gd name="connsiteY184" fmla="*/ 39082 h 42590"/>
                <a:gd name="connsiteX185" fmla="*/ 69668 w 338744"/>
                <a:gd name="connsiteY185" fmla="*/ 15210 h 42590"/>
                <a:gd name="connsiteX186" fmla="*/ 65520 w 338744"/>
                <a:gd name="connsiteY186" fmla="*/ 3672 h 42590"/>
                <a:gd name="connsiteX187" fmla="*/ 53556 w 338744"/>
                <a:gd name="connsiteY187" fmla="*/ 58 h 42590"/>
                <a:gd name="connsiteX188" fmla="*/ 46566 w 338744"/>
                <a:gd name="connsiteY188" fmla="*/ 703 h 42590"/>
                <a:gd name="connsiteX189" fmla="*/ 38535 w 338744"/>
                <a:gd name="connsiteY189" fmla="*/ 3654 h 42590"/>
                <a:gd name="connsiteX190" fmla="*/ 38301 w 338744"/>
                <a:gd name="connsiteY190" fmla="*/ 4693 h 42590"/>
                <a:gd name="connsiteX191" fmla="*/ 40152 w 338744"/>
                <a:gd name="connsiteY191" fmla="*/ 9667 h 42590"/>
                <a:gd name="connsiteX192" fmla="*/ 41008 w 338744"/>
                <a:gd name="connsiteY192" fmla="*/ 10091 h 42590"/>
                <a:gd name="connsiteX193" fmla="*/ 41436 w 338744"/>
                <a:gd name="connsiteY193" fmla="*/ 9875 h 42590"/>
                <a:gd name="connsiteX194" fmla="*/ 52788 w 338744"/>
                <a:gd name="connsiteY194" fmla="*/ 7223 h 42590"/>
                <a:gd name="connsiteX195" fmla="*/ 59233 w 338744"/>
                <a:gd name="connsiteY195" fmla="*/ 8914 h 42590"/>
                <a:gd name="connsiteX196" fmla="*/ 61381 w 338744"/>
                <a:gd name="connsiteY196" fmla="*/ 15147 h 42590"/>
                <a:gd name="connsiteX197" fmla="*/ 61381 w 338744"/>
                <a:gd name="connsiteY197" fmla="*/ 16253 h 42590"/>
                <a:gd name="connsiteX198" fmla="*/ 57084 w 338744"/>
                <a:gd name="connsiteY198" fmla="*/ 15741 h 42590"/>
                <a:gd name="connsiteX199" fmla="*/ 266924 w 338744"/>
                <a:gd name="connsiteY199" fmla="*/ 2202 h 42590"/>
                <a:gd name="connsiteX200" fmla="*/ 266553 w 338744"/>
                <a:gd name="connsiteY200" fmla="*/ 1269 h 42590"/>
                <a:gd name="connsiteX201" fmla="*/ 266532 w 338744"/>
                <a:gd name="connsiteY201" fmla="*/ 1260 h 42590"/>
                <a:gd name="connsiteX202" fmla="*/ 262169 w 338744"/>
                <a:gd name="connsiteY202" fmla="*/ 516 h 42590"/>
                <a:gd name="connsiteX203" fmla="*/ 255444 w 338744"/>
                <a:gd name="connsiteY203" fmla="*/ 1600 h 42590"/>
                <a:gd name="connsiteX204" fmla="*/ 251048 w 338744"/>
                <a:gd name="connsiteY204" fmla="*/ 4866 h 42590"/>
                <a:gd name="connsiteX205" fmla="*/ 251045 w 338744"/>
                <a:gd name="connsiteY205" fmla="*/ 1683 h 42590"/>
                <a:gd name="connsiteX206" fmla="*/ 250296 w 338744"/>
                <a:gd name="connsiteY206" fmla="*/ 892 h 42590"/>
                <a:gd name="connsiteX207" fmla="*/ 243620 w 338744"/>
                <a:gd name="connsiteY207" fmla="*/ 892 h 42590"/>
                <a:gd name="connsiteX208" fmla="*/ 242874 w 338744"/>
                <a:gd name="connsiteY208" fmla="*/ 1683 h 42590"/>
                <a:gd name="connsiteX209" fmla="*/ 242874 w 338744"/>
                <a:gd name="connsiteY209" fmla="*/ 40641 h 42590"/>
                <a:gd name="connsiteX210" fmla="*/ 243665 w 338744"/>
                <a:gd name="connsiteY210" fmla="*/ 41435 h 42590"/>
                <a:gd name="connsiteX211" fmla="*/ 250506 w 338744"/>
                <a:gd name="connsiteY211" fmla="*/ 41435 h 42590"/>
                <a:gd name="connsiteX212" fmla="*/ 251296 w 338744"/>
                <a:gd name="connsiteY212" fmla="*/ 40641 h 42590"/>
                <a:gd name="connsiteX213" fmla="*/ 251296 w 338744"/>
                <a:gd name="connsiteY213" fmla="*/ 21079 h 42590"/>
                <a:gd name="connsiteX214" fmla="*/ 252157 w 338744"/>
                <a:gd name="connsiteY214" fmla="*/ 14216 h 42590"/>
                <a:gd name="connsiteX215" fmla="*/ 254438 w 338744"/>
                <a:gd name="connsiteY215" fmla="*/ 10369 h 42590"/>
                <a:gd name="connsiteX216" fmla="*/ 257660 w 338744"/>
                <a:gd name="connsiteY216" fmla="*/ 8430 h 42590"/>
                <a:gd name="connsiteX217" fmla="*/ 261163 w 338744"/>
                <a:gd name="connsiteY217" fmla="*/ 7936 h 42590"/>
                <a:gd name="connsiteX218" fmla="*/ 264022 w 338744"/>
                <a:gd name="connsiteY218" fmla="*/ 8287 h 42590"/>
                <a:gd name="connsiteX219" fmla="*/ 264974 w 338744"/>
                <a:gd name="connsiteY219" fmla="*/ 7581 h 42590"/>
                <a:gd name="connsiteX220" fmla="*/ 266940 w 338744"/>
                <a:gd name="connsiteY220" fmla="*/ 2094 h 4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338744" h="42590">
                  <a:moveTo>
                    <a:pt x="102" y="36859"/>
                  </a:moveTo>
                  <a:cubicBezTo>
                    <a:pt x="-180" y="37599"/>
                    <a:pt x="203" y="37753"/>
                    <a:pt x="294" y="37884"/>
                  </a:cubicBezTo>
                  <a:cubicBezTo>
                    <a:pt x="1138" y="38497"/>
                    <a:pt x="1996" y="38941"/>
                    <a:pt x="2855" y="39440"/>
                  </a:cubicBezTo>
                  <a:cubicBezTo>
                    <a:pt x="7449" y="41877"/>
                    <a:pt x="11779" y="42590"/>
                    <a:pt x="16306" y="42590"/>
                  </a:cubicBezTo>
                  <a:cubicBezTo>
                    <a:pt x="25527" y="42590"/>
                    <a:pt x="31261" y="37667"/>
                    <a:pt x="31261" y="29742"/>
                  </a:cubicBezTo>
                  <a:lnTo>
                    <a:pt x="31261" y="29586"/>
                  </a:lnTo>
                  <a:cubicBezTo>
                    <a:pt x="31261" y="22259"/>
                    <a:pt x="24784" y="19590"/>
                    <a:pt x="18735" y="17684"/>
                  </a:cubicBezTo>
                  <a:lnTo>
                    <a:pt x="17944" y="17427"/>
                  </a:lnTo>
                  <a:cubicBezTo>
                    <a:pt x="13367" y="15938"/>
                    <a:pt x="9417" y="14642"/>
                    <a:pt x="9417" y="11624"/>
                  </a:cubicBezTo>
                  <a:lnTo>
                    <a:pt x="9417" y="11470"/>
                  </a:lnTo>
                  <a:cubicBezTo>
                    <a:pt x="9417" y="8884"/>
                    <a:pt x="11731" y="6978"/>
                    <a:pt x="15300" y="6978"/>
                  </a:cubicBezTo>
                  <a:cubicBezTo>
                    <a:pt x="19266" y="6978"/>
                    <a:pt x="23992" y="8302"/>
                    <a:pt x="27016" y="9978"/>
                  </a:cubicBezTo>
                  <a:cubicBezTo>
                    <a:pt x="27016" y="9978"/>
                    <a:pt x="27912" y="10558"/>
                    <a:pt x="28237" y="9691"/>
                  </a:cubicBezTo>
                  <a:cubicBezTo>
                    <a:pt x="28414" y="9222"/>
                    <a:pt x="29956" y="5083"/>
                    <a:pt x="30121" y="4619"/>
                  </a:cubicBezTo>
                  <a:cubicBezTo>
                    <a:pt x="30296" y="4133"/>
                    <a:pt x="29989" y="3766"/>
                    <a:pt x="29673" y="3577"/>
                  </a:cubicBezTo>
                  <a:cubicBezTo>
                    <a:pt x="26203" y="1456"/>
                    <a:pt x="21411" y="13"/>
                    <a:pt x="16453" y="13"/>
                  </a:cubicBezTo>
                  <a:lnTo>
                    <a:pt x="15533" y="17"/>
                  </a:lnTo>
                  <a:cubicBezTo>
                    <a:pt x="7089" y="17"/>
                    <a:pt x="1190" y="5139"/>
                    <a:pt x="1190" y="12467"/>
                  </a:cubicBezTo>
                  <a:lnTo>
                    <a:pt x="1190" y="12624"/>
                  </a:lnTo>
                  <a:cubicBezTo>
                    <a:pt x="1190" y="20349"/>
                    <a:pt x="7700" y="22869"/>
                    <a:pt x="13781" y="24610"/>
                  </a:cubicBezTo>
                  <a:lnTo>
                    <a:pt x="14760" y="24915"/>
                  </a:lnTo>
                  <a:cubicBezTo>
                    <a:pt x="19188" y="26281"/>
                    <a:pt x="23022" y="27468"/>
                    <a:pt x="23022" y="30584"/>
                  </a:cubicBezTo>
                  <a:lnTo>
                    <a:pt x="23022" y="30740"/>
                  </a:lnTo>
                  <a:cubicBezTo>
                    <a:pt x="23022" y="33608"/>
                    <a:pt x="20527" y="35747"/>
                    <a:pt x="16528" y="35747"/>
                  </a:cubicBezTo>
                  <a:cubicBezTo>
                    <a:pt x="14973" y="35747"/>
                    <a:pt x="10017" y="35720"/>
                    <a:pt x="4647" y="32315"/>
                  </a:cubicBezTo>
                  <a:cubicBezTo>
                    <a:pt x="3997" y="31936"/>
                    <a:pt x="3627" y="31662"/>
                    <a:pt x="3126" y="31355"/>
                  </a:cubicBezTo>
                  <a:cubicBezTo>
                    <a:pt x="2862" y="31195"/>
                    <a:pt x="2201" y="30904"/>
                    <a:pt x="1913" y="31773"/>
                  </a:cubicBezTo>
                  <a:lnTo>
                    <a:pt x="96" y="36846"/>
                  </a:lnTo>
                  <a:moveTo>
                    <a:pt x="135103" y="36846"/>
                  </a:moveTo>
                  <a:cubicBezTo>
                    <a:pt x="134820" y="37585"/>
                    <a:pt x="135203" y="37739"/>
                    <a:pt x="135298" y="37870"/>
                  </a:cubicBezTo>
                  <a:cubicBezTo>
                    <a:pt x="136139" y="38484"/>
                    <a:pt x="137000" y="38928"/>
                    <a:pt x="137859" y="39427"/>
                  </a:cubicBezTo>
                  <a:cubicBezTo>
                    <a:pt x="142453" y="41864"/>
                    <a:pt x="146782" y="42577"/>
                    <a:pt x="151310" y="42577"/>
                  </a:cubicBezTo>
                  <a:cubicBezTo>
                    <a:pt x="160531" y="42577"/>
                    <a:pt x="166265" y="37653"/>
                    <a:pt x="166265" y="29729"/>
                  </a:cubicBezTo>
                  <a:lnTo>
                    <a:pt x="166265" y="29573"/>
                  </a:lnTo>
                  <a:cubicBezTo>
                    <a:pt x="166265" y="22246"/>
                    <a:pt x="159804" y="19577"/>
                    <a:pt x="153739" y="17670"/>
                  </a:cubicBezTo>
                  <a:lnTo>
                    <a:pt x="152948" y="17413"/>
                  </a:lnTo>
                  <a:cubicBezTo>
                    <a:pt x="148370" y="15925"/>
                    <a:pt x="144421" y="14628"/>
                    <a:pt x="144421" y="11611"/>
                  </a:cubicBezTo>
                  <a:lnTo>
                    <a:pt x="144421" y="11457"/>
                  </a:lnTo>
                  <a:cubicBezTo>
                    <a:pt x="144421" y="8871"/>
                    <a:pt x="146734" y="6964"/>
                    <a:pt x="150304" y="6964"/>
                  </a:cubicBezTo>
                  <a:cubicBezTo>
                    <a:pt x="154270" y="6964"/>
                    <a:pt x="158979" y="8289"/>
                    <a:pt x="162020" y="9965"/>
                  </a:cubicBezTo>
                  <a:cubicBezTo>
                    <a:pt x="162020" y="9965"/>
                    <a:pt x="162915" y="10545"/>
                    <a:pt x="163243" y="9678"/>
                  </a:cubicBezTo>
                  <a:cubicBezTo>
                    <a:pt x="163418" y="9209"/>
                    <a:pt x="164961" y="5070"/>
                    <a:pt x="165110" y="4605"/>
                  </a:cubicBezTo>
                  <a:cubicBezTo>
                    <a:pt x="165287" y="4120"/>
                    <a:pt x="164978" y="3753"/>
                    <a:pt x="164664" y="3564"/>
                  </a:cubicBezTo>
                  <a:cubicBezTo>
                    <a:pt x="161193" y="1442"/>
                    <a:pt x="156401" y="0"/>
                    <a:pt x="151444" y="0"/>
                  </a:cubicBezTo>
                  <a:lnTo>
                    <a:pt x="150522" y="3"/>
                  </a:lnTo>
                  <a:cubicBezTo>
                    <a:pt x="142078" y="3"/>
                    <a:pt x="136178" y="5126"/>
                    <a:pt x="136178" y="12453"/>
                  </a:cubicBezTo>
                  <a:lnTo>
                    <a:pt x="136178" y="12611"/>
                  </a:lnTo>
                  <a:cubicBezTo>
                    <a:pt x="136178" y="20336"/>
                    <a:pt x="142689" y="22856"/>
                    <a:pt x="148770" y="24597"/>
                  </a:cubicBezTo>
                  <a:lnTo>
                    <a:pt x="149747" y="24902"/>
                  </a:lnTo>
                  <a:cubicBezTo>
                    <a:pt x="154192" y="26268"/>
                    <a:pt x="158009" y="27455"/>
                    <a:pt x="158009" y="30571"/>
                  </a:cubicBezTo>
                  <a:lnTo>
                    <a:pt x="158009" y="30727"/>
                  </a:lnTo>
                  <a:cubicBezTo>
                    <a:pt x="158009" y="33595"/>
                    <a:pt x="155514" y="35734"/>
                    <a:pt x="151515" y="35734"/>
                  </a:cubicBezTo>
                  <a:cubicBezTo>
                    <a:pt x="149957" y="35734"/>
                    <a:pt x="144988" y="35707"/>
                    <a:pt x="139634" y="32302"/>
                  </a:cubicBezTo>
                  <a:cubicBezTo>
                    <a:pt x="138984" y="31922"/>
                    <a:pt x="138604" y="31660"/>
                    <a:pt x="138112" y="31342"/>
                  </a:cubicBezTo>
                  <a:cubicBezTo>
                    <a:pt x="137945" y="31236"/>
                    <a:pt x="137167" y="30931"/>
                    <a:pt x="136900" y="31760"/>
                  </a:cubicBezTo>
                  <a:lnTo>
                    <a:pt x="135083" y="36833"/>
                  </a:lnTo>
                  <a:moveTo>
                    <a:pt x="227291" y="21316"/>
                  </a:moveTo>
                  <a:cubicBezTo>
                    <a:pt x="227291" y="25792"/>
                    <a:pt x="226458" y="29323"/>
                    <a:pt x="224829" y="31826"/>
                  </a:cubicBezTo>
                  <a:cubicBezTo>
                    <a:pt x="223203" y="34296"/>
                    <a:pt x="220747" y="35506"/>
                    <a:pt x="217326" y="35506"/>
                  </a:cubicBezTo>
                  <a:cubicBezTo>
                    <a:pt x="213906" y="35506"/>
                    <a:pt x="211460" y="34306"/>
                    <a:pt x="209857" y="31843"/>
                  </a:cubicBezTo>
                  <a:cubicBezTo>
                    <a:pt x="208243" y="29356"/>
                    <a:pt x="207428" y="25808"/>
                    <a:pt x="207428" y="21332"/>
                  </a:cubicBezTo>
                  <a:cubicBezTo>
                    <a:pt x="207428" y="16856"/>
                    <a:pt x="208248" y="13342"/>
                    <a:pt x="209857" y="10872"/>
                  </a:cubicBezTo>
                  <a:cubicBezTo>
                    <a:pt x="211457" y="8418"/>
                    <a:pt x="213889" y="7241"/>
                    <a:pt x="217326" y="7241"/>
                  </a:cubicBezTo>
                  <a:cubicBezTo>
                    <a:pt x="220763" y="7241"/>
                    <a:pt x="223209" y="8430"/>
                    <a:pt x="224829" y="10872"/>
                  </a:cubicBezTo>
                  <a:cubicBezTo>
                    <a:pt x="226468" y="13342"/>
                    <a:pt x="227291" y="16856"/>
                    <a:pt x="227291" y="21332"/>
                  </a:cubicBezTo>
                  <a:moveTo>
                    <a:pt x="234991" y="13027"/>
                  </a:moveTo>
                  <a:cubicBezTo>
                    <a:pt x="234233" y="10457"/>
                    <a:pt x="233058" y="8203"/>
                    <a:pt x="231488" y="6313"/>
                  </a:cubicBezTo>
                  <a:cubicBezTo>
                    <a:pt x="229917" y="4423"/>
                    <a:pt x="227935" y="2898"/>
                    <a:pt x="225572" y="1804"/>
                  </a:cubicBezTo>
                  <a:cubicBezTo>
                    <a:pt x="223226" y="701"/>
                    <a:pt x="220450" y="146"/>
                    <a:pt x="217310" y="146"/>
                  </a:cubicBezTo>
                  <a:cubicBezTo>
                    <a:pt x="214170" y="146"/>
                    <a:pt x="211410" y="705"/>
                    <a:pt x="209047" y="1804"/>
                  </a:cubicBezTo>
                  <a:cubicBezTo>
                    <a:pt x="206701" y="2904"/>
                    <a:pt x="204701" y="4423"/>
                    <a:pt x="203132" y="6313"/>
                  </a:cubicBezTo>
                  <a:cubicBezTo>
                    <a:pt x="201565" y="8203"/>
                    <a:pt x="200388" y="10457"/>
                    <a:pt x="199628" y="13027"/>
                  </a:cubicBezTo>
                  <a:cubicBezTo>
                    <a:pt x="198876" y="15580"/>
                    <a:pt x="198495" y="18365"/>
                    <a:pt x="198495" y="21332"/>
                  </a:cubicBezTo>
                  <a:cubicBezTo>
                    <a:pt x="198495" y="24300"/>
                    <a:pt x="198876" y="27085"/>
                    <a:pt x="199628" y="29638"/>
                  </a:cubicBezTo>
                  <a:cubicBezTo>
                    <a:pt x="200384" y="32207"/>
                    <a:pt x="201562" y="34462"/>
                    <a:pt x="203132" y="36352"/>
                  </a:cubicBezTo>
                  <a:cubicBezTo>
                    <a:pt x="204703" y="38242"/>
                    <a:pt x="206701" y="39750"/>
                    <a:pt x="209047" y="40828"/>
                  </a:cubicBezTo>
                  <a:cubicBezTo>
                    <a:pt x="211410" y="41902"/>
                    <a:pt x="214187" y="42449"/>
                    <a:pt x="217310" y="42449"/>
                  </a:cubicBezTo>
                  <a:cubicBezTo>
                    <a:pt x="220433" y="42449"/>
                    <a:pt x="223209" y="41902"/>
                    <a:pt x="225556" y="40828"/>
                  </a:cubicBezTo>
                  <a:cubicBezTo>
                    <a:pt x="227902" y="39754"/>
                    <a:pt x="229902" y="38242"/>
                    <a:pt x="231471" y="36352"/>
                  </a:cubicBezTo>
                  <a:cubicBezTo>
                    <a:pt x="233040" y="34462"/>
                    <a:pt x="234215" y="32207"/>
                    <a:pt x="234975" y="29638"/>
                  </a:cubicBezTo>
                  <a:cubicBezTo>
                    <a:pt x="235725" y="27085"/>
                    <a:pt x="236107" y="24300"/>
                    <a:pt x="236107" y="21332"/>
                  </a:cubicBezTo>
                  <a:cubicBezTo>
                    <a:pt x="236107" y="18382"/>
                    <a:pt x="235725" y="15580"/>
                    <a:pt x="234975" y="13027"/>
                  </a:cubicBezTo>
                  <a:moveTo>
                    <a:pt x="298264" y="34247"/>
                  </a:moveTo>
                  <a:cubicBezTo>
                    <a:pt x="298012" y="33496"/>
                    <a:pt x="297281" y="33779"/>
                    <a:pt x="297281" y="33779"/>
                  </a:cubicBezTo>
                  <a:cubicBezTo>
                    <a:pt x="296162" y="34208"/>
                    <a:pt x="294968" y="34606"/>
                    <a:pt x="293695" y="34805"/>
                  </a:cubicBezTo>
                  <a:cubicBezTo>
                    <a:pt x="292413" y="35007"/>
                    <a:pt x="290985" y="35109"/>
                    <a:pt x="289482" y="35109"/>
                  </a:cubicBezTo>
                  <a:cubicBezTo>
                    <a:pt x="285763" y="35109"/>
                    <a:pt x="282789" y="33996"/>
                    <a:pt x="280674" y="31793"/>
                  </a:cubicBezTo>
                  <a:cubicBezTo>
                    <a:pt x="278542" y="29588"/>
                    <a:pt x="277352" y="26040"/>
                    <a:pt x="277369" y="21233"/>
                  </a:cubicBezTo>
                  <a:cubicBezTo>
                    <a:pt x="277380" y="16856"/>
                    <a:pt x="278435" y="13574"/>
                    <a:pt x="280327" y="11054"/>
                  </a:cubicBezTo>
                  <a:cubicBezTo>
                    <a:pt x="282194" y="8567"/>
                    <a:pt x="285069" y="7274"/>
                    <a:pt x="288870" y="7274"/>
                  </a:cubicBezTo>
                  <a:cubicBezTo>
                    <a:pt x="292043" y="7274"/>
                    <a:pt x="294472" y="7644"/>
                    <a:pt x="297017" y="8443"/>
                  </a:cubicBezTo>
                  <a:cubicBezTo>
                    <a:pt x="297017" y="8443"/>
                    <a:pt x="297620" y="8707"/>
                    <a:pt x="297909" y="7909"/>
                  </a:cubicBezTo>
                  <a:cubicBezTo>
                    <a:pt x="298585" y="6036"/>
                    <a:pt x="299084" y="4693"/>
                    <a:pt x="299810" y="2638"/>
                  </a:cubicBezTo>
                  <a:cubicBezTo>
                    <a:pt x="300014" y="2049"/>
                    <a:pt x="299512" y="1800"/>
                    <a:pt x="299329" y="1729"/>
                  </a:cubicBezTo>
                  <a:cubicBezTo>
                    <a:pt x="298331" y="1338"/>
                    <a:pt x="295974" y="696"/>
                    <a:pt x="294189" y="426"/>
                  </a:cubicBezTo>
                  <a:cubicBezTo>
                    <a:pt x="292520" y="171"/>
                    <a:pt x="290587" y="38"/>
                    <a:pt x="288406" y="38"/>
                  </a:cubicBezTo>
                  <a:cubicBezTo>
                    <a:pt x="285167" y="38"/>
                    <a:pt x="282292" y="593"/>
                    <a:pt x="279829" y="1694"/>
                  </a:cubicBezTo>
                  <a:cubicBezTo>
                    <a:pt x="277367" y="2793"/>
                    <a:pt x="275285" y="4314"/>
                    <a:pt x="273633" y="6203"/>
                  </a:cubicBezTo>
                  <a:cubicBezTo>
                    <a:pt x="271980" y="8093"/>
                    <a:pt x="270724" y="10348"/>
                    <a:pt x="269882" y="12917"/>
                  </a:cubicBezTo>
                  <a:cubicBezTo>
                    <a:pt x="269047" y="15470"/>
                    <a:pt x="268626" y="18272"/>
                    <a:pt x="268626" y="21240"/>
                  </a:cubicBezTo>
                  <a:cubicBezTo>
                    <a:pt x="268626" y="27639"/>
                    <a:pt x="270344" y="32827"/>
                    <a:pt x="273748" y="36624"/>
                  </a:cubicBezTo>
                  <a:cubicBezTo>
                    <a:pt x="277152" y="40437"/>
                    <a:pt x="282275" y="42360"/>
                    <a:pt x="288951" y="42360"/>
                  </a:cubicBezTo>
                  <a:cubicBezTo>
                    <a:pt x="292901" y="42360"/>
                    <a:pt x="296949" y="41559"/>
                    <a:pt x="299857" y="40404"/>
                  </a:cubicBezTo>
                  <a:cubicBezTo>
                    <a:pt x="299857" y="40404"/>
                    <a:pt x="300413" y="40135"/>
                    <a:pt x="300171" y="39485"/>
                  </a:cubicBezTo>
                  <a:lnTo>
                    <a:pt x="298271" y="34247"/>
                  </a:lnTo>
                  <a:moveTo>
                    <a:pt x="311739" y="17006"/>
                  </a:moveTo>
                  <a:cubicBezTo>
                    <a:pt x="312107" y="14519"/>
                    <a:pt x="312786" y="12447"/>
                    <a:pt x="313854" y="10839"/>
                  </a:cubicBezTo>
                  <a:cubicBezTo>
                    <a:pt x="315452" y="8385"/>
                    <a:pt x="317886" y="7042"/>
                    <a:pt x="321307" y="7042"/>
                  </a:cubicBezTo>
                  <a:cubicBezTo>
                    <a:pt x="324727" y="7042"/>
                    <a:pt x="326991" y="8392"/>
                    <a:pt x="328610" y="10839"/>
                  </a:cubicBezTo>
                  <a:cubicBezTo>
                    <a:pt x="329685" y="12455"/>
                    <a:pt x="330154" y="14602"/>
                    <a:pt x="330329" y="17006"/>
                  </a:cubicBezTo>
                  <a:lnTo>
                    <a:pt x="311656" y="17002"/>
                  </a:lnTo>
                  <a:close/>
                  <a:moveTo>
                    <a:pt x="337683" y="11535"/>
                  </a:moveTo>
                  <a:cubicBezTo>
                    <a:pt x="337026" y="9065"/>
                    <a:pt x="335402" y="6562"/>
                    <a:pt x="334345" y="5418"/>
                  </a:cubicBezTo>
                  <a:cubicBezTo>
                    <a:pt x="332659" y="3611"/>
                    <a:pt x="331023" y="2334"/>
                    <a:pt x="329387" y="1638"/>
                  </a:cubicBezTo>
                  <a:cubicBezTo>
                    <a:pt x="327026" y="630"/>
                    <a:pt x="324484" y="113"/>
                    <a:pt x="321918" y="118"/>
                  </a:cubicBezTo>
                  <a:cubicBezTo>
                    <a:pt x="318663" y="118"/>
                    <a:pt x="315705" y="670"/>
                    <a:pt x="313309" y="1792"/>
                  </a:cubicBezTo>
                  <a:cubicBezTo>
                    <a:pt x="310912" y="2923"/>
                    <a:pt x="308896" y="4461"/>
                    <a:pt x="307310" y="6384"/>
                  </a:cubicBezTo>
                  <a:cubicBezTo>
                    <a:pt x="305725" y="8307"/>
                    <a:pt x="304534" y="10578"/>
                    <a:pt x="303774" y="13181"/>
                  </a:cubicBezTo>
                  <a:cubicBezTo>
                    <a:pt x="303014" y="15751"/>
                    <a:pt x="302630" y="18569"/>
                    <a:pt x="302630" y="21520"/>
                  </a:cubicBezTo>
                  <a:cubicBezTo>
                    <a:pt x="302630" y="24537"/>
                    <a:pt x="303029" y="27339"/>
                    <a:pt x="303812" y="29875"/>
                  </a:cubicBezTo>
                  <a:cubicBezTo>
                    <a:pt x="304603" y="32428"/>
                    <a:pt x="305877" y="34666"/>
                    <a:pt x="307596" y="36523"/>
                  </a:cubicBezTo>
                  <a:cubicBezTo>
                    <a:pt x="309315" y="38396"/>
                    <a:pt x="311512" y="39855"/>
                    <a:pt x="314156" y="40883"/>
                  </a:cubicBezTo>
                  <a:cubicBezTo>
                    <a:pt x="316784" y="41902"/>
                    <a:pt x="319973" y="42431"/>
                    <a:pt x="323625" y="42419"/>
                  </a:cubicBezTo>
                  <a:cubicBezTo>
                    <a:pt x="331160" y="42395"/>
                    <a:pt x="335126" y="40712"/>
                    <a:pt x="336746" y="39800"/>
                  </a:cubicBezTo>
                  <a:cubicBezTo>
                    <a:pt x="337035" y="39638"/>
                    <a:pt x="337307" y="39357"/>
                    <a:pt x="336967" y="38550"/>
                  </a:cubicBezTo>
                  <a:lnTo>
                    <a:pt x="335265" y="33759"/>
                  </a:lnTo>
                  <a:cubicBezTo>
                    <a:pt x="335004" y="33045"/>
                    <a:pt x="334283" y="33303"/>
                    <a:pt x="334283" y="33303"/>
                  </a:cubicBezTo>
                  <a:cubicBezTo>
                    <a:pt x="332416" y="34003"/>
                    <a:pt x="329772" y="35259"/>
                    <a:pt x="323575" y="35243"/>
                  </a:cubicBezTo>
                  <a:cubicBezTo>
                    <a:pt x="319527" y="35236"/>
                    <a:pt x="316536" y="34038"/>
                    <a:pt x="314652" y="32159"/>
                  </a:cubicBezTo>
                  <a:cubicBezTo>
                    <a:pt x="312735" y="30236"/>
                    <a:pt x="311777" y="27435"/>
                    <a:pt x="311628" y="23456"/>
                  </a:cubicBezTo>
                  <a:lnTo>
                    <a:pt x="337737" y="23476"/>
                  </a:lnTo>
                  <a:cubicBezTo>
                    <a:pt x="337737" y="23476"/>
                    <a:pt x="338424" y="23469"/>
                    <a:pt x="338496" y="22796"/>
                  </a:cubicBezTo>
                  <a:cubicBezTo>
                    <a:pt x="338524" y="22518"/>
                    <a:pt x="339390" y="17425"/>
                    <a:pt x="337717" y="11540"/>
                  </a:cubicBezTo>
                  <a:close/>
                  <a:moveTo>
                    <a:pt x="103031" y="17006"/>
                  </a:moveTo>
                  <a:cubicBezTo>
                    <a:pt x="103400" y="14519"/>
                    <a:pt x="104081" y="12447"/>
                    <a:pt x="105147" y="10839"/>
                  </a:cubicBezTo>
                  <a:cubicBezTo>
                    <a:pt x="106746" y="8385"/>
                    <a:pt x="109179" y="7042"/>
                    <a:pt x="112599" y="7042"/>
                  </a:cubicBezTo>
                  <a:cubicBezTo>
                    <a:pt x="116020" y="7042"/>
                    <a:pt x="118284" y="8392"/>
                    <a:pt x="119903" y="10839"/>
                  </a:cubicBezTo>
                  <a:cubicBezTo>
                    <a:pt x="120976" y="12455"/>
                    <a:pt x="121445" y="14602"/>
                    <a:pt x="121622" y="17006"/>
                  </a:cubicBezTo>
                  <a:lnTo>
                    <a:pt x="102949" y="17002"/>
                  </a:lnTo>
                  <a:close/>
                  <a:moveTo>
                    <a:pt x="128975" y="11535"/>
                  </a:moveTo>
                  <a:cubicBezTo>
                    <a:pt x="128321" y="9065"/>
                    <a:pt x="126695" y="6562"/>
                    <a:pt x="125637" y="5418"/>
                  </a:cubicBezTo>
                  <a:cubicBezTo>
                    <a:pt x="123952" y="3611"/>
                    <a:pt x="122316" y="2334"/>
                    <a:pt x="120680" y="1638"/>
                  </a:cubicBezTo>
                  <a:cubicBezTo>
                    <a:pt x="118318" y="630"/>
                    <a:pt x="115777" y="113"/>
                    <a:pt x="113211" y="118"/>
                  </a:cubicBezTo>
                  <a:cubicBezTo>
                    <a:pt x="109955" y="118"/>
                    <a:pt x="106997" y="670"/>
                    <a:pt x="104601" y="1792"/>
                  </a:cubicBezTo>
                  <a:cubicBezTo>
                    <a:pt x="102205" y="2923"/>
                    <a:pt x="100189" y="4461"/>
                    <a:pt x="98603" y="6384"/>
                  </a:cubicBezTo>
                  <a:cubicBezTo>
                    <a:pt x="97021" y="8307"/>
                    <a:pt x="95827" y="10578"/>
                    <a:pt x="95066" y="13181"/>
                  </a:cubicBezTo>
                  <a:cubicBezTo>
                    <a:pt x="94308" y="15751"/>
                    <a:pt x="93926" y="18569"/>
                    <a:pt x="93926" y="21520"/>
                  </a:cubicBezTo>
                  <a:cubicBezTo>
                    <a:pt x="93926" y="24537"/>
                    <a:pt x="94321" y="27339"/>
                    <a:pt x="95109" y="29875"/>
                  </a:cubicBezTo>
                  <a:cubicBezTo>
                    <a:pt x="95899" y="32428"/>
                    <a:pt x="97175" y="34666"/>
                    <a:pt x="98877" y="36523"/>
                  </a:cubicBezTo>
                  <a:cubicBezTo>
                    <a:pt x="100596" y="38396"/>
                    <a:pt x="102793" y="39855"/>
                    <a:pt x="105437" y="40883"/>
                  </a:cubicBezTo>
                  <a:cubicBezTo>
                    <a:pt x="108065" y="41902"/>
                    <a:pt x="111238" y="42431"/>
                    <a:pt x="114906" y="42419"/>
                  </a:cubicBezTo>
                  <a:cubicBezTo>
                    <a:pt x="122441" y="42395"/>
                    <a:pt x="126407" y="40712"/>
                    <a:pt x="128027" y="39800"/>
                  </a:cubicBezTo>
                  <a:cubicBezTo>
                    <a:pt x="128314" y="39638"/>
                    <a:pt x="128589" y="39357"/>
                    <a:pt x="128246" y="38550"/>
                  </a:cubicBezTo>
                  <a:lnTo>
                    <a:pt x="126544" y="33759"/>
                  </a:lnTo>
                  <a:cubicBezTo>
                    <a:pt x="126282" y="33045"/>
                    <a:pt x="125561" y="33303"/>
                    <a:pt x="125561" y="33303"/>
                  </a:cubicBezTo>
                  <a:cubicBezTo>
                    <a:pt x="123694" y="34003"/>
                    <a:pt x="121050" y="35259"/>
                    <a:pt x="114853" y="35243"/>
                  </a:cubicBezTo>
                  <a:cubicBezTo>
                    <a:pt x="110821" y="35236"/>
                    <a:pt x="107814" y="34038"/>
                    <a:pt x="105930" y="32159"/>
                  </a:cubicBezTo>
                  <a:cubicBezTo>
                    <a:pt x="104013" y="30236"/>
                    <a:pt x="103055" y="27435"/>
                    <a:pt x="102906" y="23456"/>
                  </a:cubicBezTo>
                  <a:lnTo>
                    <a:pt x="129015" y="23476"/>
                  </a:lnTo>
                  <a:cubicBezTo>
                    <a:pt x="129015" y="23476"/>
                    <a:pt x="129702" y="23469"/>
                    <a:pt x="129773" y="22796"/>
                  </a:cubicBezTo>
                  <a:cubicBezTo>
                    <a:pt x="129801" y="22518"/>
                    <a:pt x="130667" y="17425"/>
                    <a:pt x="128993" y="11540"/>
                  </a:cubicBezTo>
                  <a:close/>
                  <a:moveTo>
                    <a:pt x="46682" y="34081"/>
                  </a:moveTo>
                  <a:cubicBezTo>
                    <a:pt x="45659" y="33262"/>
                    <a:pt x="45517" y="33061"/>
                    <a:pt x="45178" y="32529"/>
                  </a:cubicBezTo>
                  <a:cubicBezTo>
                    <a:pt x="44661" y="31728"/>
                    <a:pt x="44397" y="30589"/>
                    <a:pt x="44397" y="29131"/>
                  </a:cubicBezTo>
                  <a:cubicBezTo>
                    <a:pt x="44397" y="26843"/>
                    <a:pt x="45157" y="25185"/>
                    <a:pt x="46727" y="24074"/>
                  </a:cubicBezTo>
                  <a:cubicBezTo>
                    <a:pt x="46710" y="24078"/>
                    <a:pt x="48974" y="22118"/>
                    <a:pt x="54295" y="22184"/>
                  </a:cubicBezTo>
                  <a:cubicBezTo>
                    <a:pt x="56663" y="22227"/>
                    <a:pt x="59026" y="22429"/>
                    <a:pt x="61368" y="22790"/>
                  </a:cubicBezTo>
                  <a:lnTo>
                    <a:pt x="61368" y="34676"/>
                  </a:lnTo>
                  <a:lnTo>
                    <a:pt x="61371" y="34676"/>
                  </a:lnTo>
                  <a:cubicBezTo>
                    <a:pt x="61371" y="34676"/>
                    <a:pt x="58066" y="35390"/>
                    <a:pt x="54331" y="35616"/>
                  </a:cubicBezTo>
                  <a:cubicBezTo>
                    <a:pt x="49027" y="35936"/>
                    <a:pt x="46680" y="34084"/>
                    <a:pt x="46697" y="34089"/>
                  </a:cubicBezTo>
                  <a:close/>
                  <a:moveTo>
                    <a:pt x="57060" y="15679"/>
                  </a:moveTo>
                  <a:cubicBezTo>
                    <a:pt x="56002" y="15601"/>
                    <a:pt x="54630" y="15563"/>
                    <a:pt x="52995" y="15563"/>
                  </a:cubicBezTo>
                  <a:cubicBezTo>
                    <a:pt x="50764" y="15563"/>
                    <a:pt x="48599" y="15842"/>
                    <a:pt x="46583" y="16389"/>
                  </a:cubicBezTo>
                  <a:cubicBezTo>
                    <a:pt x="44550" y="16939"/>
                    <a:pt x="42716" y="17791"/>
                    <a:pt x="41146" y="18925"/>
                  </a:cubicBezTo>
                  <a:cubicBezTo>
                    <a:pt x="39572" y="20052"/>
                    <a:pt x="38277" y="21527"/>
                    <a:pt x="37362" y="23236"/>
                  </a:cubicBezTo>
                  <a:cubicBezTo>
                    <a:pt x="36438" y="24960"/>
                    <a:pt x="35967" y="26982"/>
                    <a:pt x="35967" y="29270"/>
                  </a:cubicBezTo>
                  <a:cubicBezTo>
                    <a:pt x="35967" y="31591"/>
                    <a:pt x="36369" y="33597"/>
                    <a:pt x="37162" y="35238"/>
                  </a:cubicBezTo>
                  <a:cubicBezTo>
                    <a:pt x="37940" y="36866"/>
                    <a:pt x="39109" y="38273"/>
                    <a:pt x="40566" y="39333"/>
                  </a:cubicBezTo>
                  <a:cubicBezTo>
                    <a:pt x="42016" y="40390"/>
                    <a:pt x="43805" y="41173"/>
                    <a:pt x="45871" y="41637"/>
                  </a:cubicBezTo>
                  <a:cubicBezTo>
                    <a:pt x="47920" y="42106"/>
                    <a:pt x="50233" y="42343"/>
                    <a:pt x="52778" y="42343"/>
                  </a:cubicBezTo>
                  <a:cubicBezTo>
                    <a:pt x="55455" y="42343"/>
                    <a:pt x="58116" y="42118"/>
                    <a:pt x="60693" y="41682"/>
                  </a:cubicBezTo>
                  <a:cubicBezTo>
                    <a:pt x="62889" y="41302"/>
                    <a:pt x="65076" y="40874"/>
                    <a:pt x="67254" y="40402"/>
                  </a:cubicBezTo>
                  <a:cubicBezTo>
                    <a:pt x="68123" y="40201"/>
                    <a:pt x="69088" y="39938"/>
                    <a:pt x="69088" y="39938"/>
                  </a:cubicBezTo>
                  <a:cubicBezTo>
                    <a:pt x="69732" y="39774"/>
                    <a:pt x="69683" y="39082"/>
                    <a:pt x="69683" y="39082"/>
                  </a:cubicBezTo>
                  <a:lnTo>
                    <a:pt x="69668" y="15210"/>
                  </a:lnTo>
                  <a:cubicBezTo>
                    <a:pt x="69668" y="9972"/>
                    <a:pt x="68273" y="6076"/>
                    <a:pt x="65520" y="3672"/>
                  </a:cubicBezTo>
                  <a:cubicBezTo>
                    <a:pt x="62777" y="1268"/>
                    <a:pt x="58762" y="58"/>
                    <a:pt x="53556" y="58"/>
                  </a:cubicBezTo>
                  <a:cubicBezTo>
                    <a:pt x="51606" y="58"/>
                    <a:pt x="48450" y="323"/>
                    <a:pt x="46566" y="703"/>
                  </a:cubicBezTo>
                  <a:cubicBezTo>
                    <a:pt x="46566" y="703"/>
                    <a:pt x="40882" y="1810"/>
                    <a:pt x="38535" y="3654"/>
                  </a:cubicBezTo>
                  <a:cubicBezTo>
                    <a:pt x="38535" y="3654"/>
                    <a:pt x="38020" y="3972"/>
                    <a:pt x="38301" y="4693"/>
                  </a:cubicBezTo>
                  <a:lnTo>
                    <a:pt x="40152" y="9667"/>
                  </a:lnTo>
                  <a:cubicBezTo>
                    <a:pt x="40381" y="10311"/>
                    <a:pt x="41008" y="10091"/>
                    <a:pt x="41008" y="10091"/>
                  </a:cubicBezTo>
                  <a:cubicBezTo>
                    <a:pt x="41008" y="10091"/>
                    <a:pt x="41204" y="10013"/>
                    <a:pt x="41436" y="9875"/>
                  </a:cubicBezTo>
                  <a:cubicBezTo>
                    <a:pt x="46442" y="7140"/>
                    <a:pt x="52788" y="7223"/>
                    <a:pt x="52788" y="7223"/>
                  </a:cubicBezTo>
                  <a:cubicBezTo>
                    <a:pt x="55597" y="7223"/>
                    <a:pt x="57778" y="7795"/>
                    <a:pt x="59233" y="8914"/>
                  </a:cubicBezTo>
                  <a:cubicBezTo>
                    <a:pt x="60655" y="10010"/>
                    <a:pt x="61381" y="11666"/>
                    <a:pt x="61381" y="15147"/>
                  </a:cubicBezTo>
                  <a:lnTo>
                    <a:pt x="61381" y="16253"/>
                  </a:lnTo>
                  <a:cubicBezTo>
                    <a:pt x="59150" y="15928"/>
                    <a:pt x="57084" y="15741"/>
                    <a:pt x="57084" y="15741"/>
                  </a:cubicBezTo>
                  <a:close/>
                  <a:moveTo>
                    <a:pt x="266924" y="2202"/>
                  </a:moveTo>
                  <a:cubicBezTo>
                    <a:pt x="267079" y="1842"/>
                    <a:pt x="266912" y="1424"/>
                    <a:pt x="266553" y="1269"/>
                  </a:cubicBezTo>
                  <a:cubicBezTo>
                    <a:pt x="266547" y="1266"/>
                    <a:pt x="266539" y="1263"/>
                    <a:pt x="266532" y="1260"/>
                  </a:cubicBezTo>
                  <a:cubicBezTo>
                    <a:pt x="266087" y="1091"/>
                    <a:pt x="263872" y="622"/>
                    <a:pt x="262169" y="516"/>
                  </a:cubicBezTo>
                  <a:cubicBezTo>
                    <a:pt x="258898" y="310"/>
                    <a:pt x="257080" y="864"/>
                    <a:pt x="255444" y="1600"/>
                  </a:cubicBezTo>
                  <a:cubicBezTo>
                    <a:pt x="253828" y="2331"/>
                    <a:pt x="252040" y="3506"/>
                    <a:pt x="251048" y="4866"/>
                  </a:cubicBezTo>
                  <a:lnTo>
                    <a:pt x="251045" y="1683"/>
                  </a:lnTo>
                  <a:cubicBezTo>
                    <a:pt x="251045" y="1245"/>
                    <a:pt x="250736" y="892"/>
                    <a:pt x="250296" y="892"/>
                  </a:cubicBezTo>
                  <a:lnTo>
                    <a:pt x="243620" y="892"/>
                  </a:lnTo>
                  <a:cubicBezTo>
                    <a:pt x="243188" y="892"/>
                    <a:pt x="242874" y="1245"/>
                    <a:pt x="242874" y="1683"/>
                  </a:cubicBezTo>
                  <a:lnTo>
                    <a:pt x="242874" y="40641"/>
                  </a:lnTo>
                  <a:cubicBezTo>
                    <a:pt x="242875" y="41078"/>
                    <a:pt x="243229" y="41433"/>
                    <a:pt x="243665" y="41435"/>
                  </a:cubicBezTo>
                  <a:lnTo>
                    <a:pt x="250506" y="41435"/>
                  </a:lnTo>
                  <a:cubicBezTo>
                    <a:pt x="250943" y="41433"/>
                    <a:pt x="251296" y="41078"/>
                    <a:pt x="251296" y="40641"/>
                  </a:cubicBezTo>
                  <a:lnTo>
                    <a:pt x="251296" y="21079"/>
                  </a:lnTo>
                  <a:cubicBezTo>
                    <a:pt x="251296" y="18459"/>
                    <a:pt x="251584" y="15857"/>
                    <a:pt x="252157" y="14216"/>
                  </a:cubicBezTo>
                  <a:cubicBezTo>
                    <a:pt x="252722" y="12593"/>
                    <a:pt x="253491" y="11298"/>
                    <a:pt x="254438" y="10369"/>
                  </a:cubicBezTo>
                  <a:cubicBezTo>
                    <a:pt x="255341" y="9473"/>
                    <a:pt x="256445" y="8807"/>
                    <a:pt x="257660" y="8430"/>
                  </a:cubicBezTo>
                  <a:cubicBezTo>
                    <a:pt x="258798" y="8102"/>
                    <a:pt x="259978" y="7936"/>
                    <a:pt x="261163" y="7936"/>
                  </a:cubicBezTo>
                  <a:cubicBezTo>
                    <a:pt x="262526" y="7936"/>
                    <a:pt x="264022" y="8287"/>
                    <a:pt x="264022" y="8287"/>
                  </a:cubicBezTo>
                  <a:cubicBezTo>
                    <a:pt x="264524" y="8344"/>
                    <a:pt x="264804" y="8035"/>
                    <a:pt x="264974" y="7581"/>
                  </a:cubicBezTo>
                  <a:cubicBezTo>
                    <a:pt x="265422" y="6386"/>
                    <a:pt x="266692" y="2807"/>
                    <a:pt x="266940" y="2094"/>
                  </a:cubicBezTo>
                </a:path>
              </a:pathLst>
            </a:custGeom>
            <a:solidFill>
              <a:srgbClr val="FFFFFE"/>
            </a:solidFill>
            <a:ln w="1640"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86" name="Freeform 115">
              <a:extLst>
                <a:ext uri="{FF2B5EF4-FFF2-40B4-BE49-F238E27FC236}">
                  <a16:creationId xmlns:a16="http://schemas.microsoft.com/office/drawing/2014/main" id="{AC2915A8-27A3-4D86-7F03-4130FA349F24}"/>
                </a:ext>
              </a:extLst>
            </p:cNvPr>
            <p:cNvSpPr/>
            <p:nvPr/>
          </p:nvSpPr>
          <p:spPr>
            <a:xfrm>
              <a:off x="601504" y="6219313"/>
              <a:ext cx="125391" cy="76988"/>
            </a:xfrm>
            <a:custGeom>
              <a:avLst/>
              <a:gdLst>
                <a:gd name="connsiteX0" fmla="*/ 124864 w 125391"/>
                <a:gd name="connsiteY0" fmla="*/ 890 h 76988"/>
                <a:gd name="connsiteX1" fmla="*/ 122288 w 125391"/>
                <a:gd name="connsiteY1" fmla="*/ 276 h 76988"/>
                <a:gd name="connsiteX2" fmla="*/ 118745 w 125391"/>
                <a:gd name="connsiteY2" fmla="*/ 1 h 76988"/>
                <a:gd name="connsiteX3" fmla="*/ 107705 w 125391"/>
                <a:gd name="connsiteY3" fmla="*/ 3977 h 76988"/>
                <a:gd name="connsiteX4" fmla="*/ 102467 w 125391"/>
                <a:gd name="connsiteY4" fmla="*/ 15836 h 76988"/>
                <a:gd name="connsiteX5" fmla="*/ 102148 w 125391"/>
                <a:gd name="connsiteY5" fmla="*/ 17609 h 76988"/>
                <a:gd name="connsiteX6" fmla="*/ 96230 w 125391"/>
                <a:gd name="connsiteY6" fmla="*/ 17609 h 76988"/>
                <a:gd name="connsiteX7" fmla="*/ 95356 w 125391"/>
                <a:gd name="connsiteY7" fmla="*/ 18369 h 76988"/>
                <a:gd name="connsiteX8" fmla="*/ 94384 w 125391"/>
                <a:gd name="connsiteY8" fmla="*/ 23807 h 76988"/>
                <a:gd name="connsiteX9" fmla="*/ 95234 w 125391"/>
                <a:gd name="connsiteY9" fmla="*/ 24649 h 76988"/>
                <a:gd name="connsiteX10" fmla="*/ 100994 w 125391"/>
                <a:gd name="connsiteY10" fmla="*/ 24649 h 76988"/>
                <a:gd name="connsiteX11" fmla="*/ 95149 w 125391"/>
                <a:gd name="connsiteY11" fmla="*/ 57379 h 76988"/>
                <a:gd name="connsiteX12" fmla="*/ 93588 w 125391"/>
                <a:gd name="connsiteY12" fmla="*/ 63826 h 76988"/>
                <a:gd name="connsiteX13" fmla="*/ 91770 w 125391"/>
                <a:gd name="connsiteY13" fmla="*/ 67544 h 76988"/>
                <a:gd name="connsiteX14" fmla="*/ 89384 w 125391"/>
                <a:gd name="connsiteY14" fmla="*/ 69393 h 76988"/>
                <a:gd name="connsiteX15" fmla="*/ 86317 w 125391"/>
                <a:gd name="connsiteY15" fmla="*/ 69835 h 76988"/>
                <a:gd name="connsiteX16" fmla="*/ 84227 w 125391"/>
                <a:gd name="connsiteY16" fmla="*/ 69605 h 76988"/>
                <a:gd name="connsiteX17" fmla="*/ 82820 w 125391"/>
                <a:gd name="connsiteY17" fmla="*/ 69147 h 76988"/>
                <a:gd name="connsiteX18" fmla="*/ 81878 w 125391"/>
                <a:gd name="connsiteY18" fmla="*/ 69568 h 76988"/>
                <a:gd name="connsiteX19" fmla="*/ 79945 w 125391"/>
                <a:gd name="connsiteY19" fmla="*/ 74883 h 76988"/>
                <a:gd name="connsiteX20" fmla="*/ 80347 w 125391"/>
                <a:gd name="connsiteY20" fmla="*/ 75926 h 76988"/>
                <a:gd name="connsiteX21" fmla="*/ 82728 w 125391"/>
                <a:gd name="connsiteY21" fmla="*/ 76624 h 76988"/>
                <a:gd name="connsiteX22" fmla="*/ 86547 w 125391"/>
                <a:gd name="connsiteY22" fmla="*/ 76989 h 76988"/>
                <a:gd name="connsiteX23" fmla="*/ 92945 w 125391"/>
                <a:gd name="connsiteY23" fmla="*/ 75994 h 76988"/>
                <a:gd name="connsiteX24" fmla="*/ 97762 w 125391"/>
                <a:gd name="connsiteY24" fmla="*/ 72620 h 76988"/>
                <a:gd name="connsiteX25" fmla="*/ 101150 w 125391"/>
                <a:gd name="connsiteY25" fmla="*/ 66772 h 76988"/>
                <a:gd name="connsiteX26" fmla="*/ 103440 w 125391"/>
                <a:gd name="connsiteY26" fmla="*/ 57986 h 76988"/>
                <a:gd name="connsiteX27" fmla="*/ 109313 w 125391"/>
                <a:gd name="connsiteY27" fmla="*/ 24649 h 76988"/>
                <a:gd name="connsiteX28" fmla="*/ 117899 w 125391"/>
                <a:gd name="connsiteY28" fmla="*/ 24649 h 76988"/>
                <a:gd name="connsiteX29" fmla="*/ 118773 w 125391"/>
                <a:gd name="connsiteY29" fmla="*/ 23888 h 76988"/>
                <a:gd name="connsiteX30" fmla="*/ 119745 w 125391"/>
                <a:gd name="connsiteY30" fmla="*/ 18451 h 76988"/>
                <a:gd name="connsiteX31" fmla="*/ 118894 w 125391"/>
                <a:gd name="connsiteY31" fmla="*/ 17609 h 76988"/>
                <a:gd name="connsiteX32" fmla="*/ 110560 w 125391"/>
                <a:gd name="connsiteY32" fmla="*/ 17609 h 76988"/>
                <a:gd name="connsiteX33" fmla="*/ 111937 w 125391"/>
                <a:gd name="connsiteY33" fmla="*/ 11710 h 76988"/>
                <a:gd name="connsiteX34" fmla="*/ 113764 w 125391"/>
                <a:gd name="connsiteY34" fmla="*/ 8920 h 76988"/>
                <a:gd name="connsiteX35" fmla="*/ 115947 w 125391"/>
                <a:gd name="connsiteY35" fmla="*/ 7557 h 76988"/>
                <a:gd name="connsiteX36" fmla="*/ 118745 w 125391"/>
                <a:gd name="connsiteY36" fmla="*/ 7153 h 76988"/>
                <a:gd name="connsiteX37" fmla="*/ 120887 w 125391"/>
                <a:gd name="connsiteY37" fmla="*/ 7370 h 76988"/>
                <a:gd name="connsiteX38" fmla="*/ 122220 w 125391"/>
                <a:gd name="connsiteY38" fmla="*/ 7697 h 76988"/>
                <a:gd name="connsiteX39" fmla="*/ 123350 w 125391"/>
                <a:gd name="connsiteY39" fmla="*/ 7292 h 76988"/>
                <a:gd name="connsiteX40" fmla="*/ 125343 w 125391"/>
                <a:gd name="connsiteY40" fmla="*/ 1802 h 76988"/>
                <a:gd name="connsiteX41" fmla="*/ 124864 w 125391"/>
                <a:gd name="connsiteY41" fmla="*/ 890 h 76988"/>
                <a:gd name="connsiteX42" fmla="*/ 8408 w 125391"/>
                <a:gd name="connsiteY42" fmla="*/ 57448 h 76988"/>
                <a:gd name="connsiteX43" fmla="*/ 7661 w 125391"/>
                <a:gd name="connsiteY43" fmla="*/ 58243 h 76988"/>
                <a:gd name="connsiteX44" fmla="*/ 749 w 125391"/>
                <a:gd name="connsiteY44" fmla="*/ 58243 h 76988"/>
                <a:gd name="connsiteX45" fmla="*/ 0 w 125391"/>
                <a:gd name="connsiteY45" fmla="*/ 57448 h 76988"/>
                <a:gd name="connsiteX46" fmla="*/ 0 w 125391"/>
                <a:gd name="connsiteY46" fmla="*/ 1634 h 76988"/>
                <a:gd name="connsiteX47" fmla="*/ 749 w 125391"/>
                <a:gd name="connsiteY47" fmla="*/ 845 h 76988"/>
                <a:gd name="connsiteX48" fmla="*/ 7661 w 125391"/>
                <a:gd name="connsiteY48" fmla="*/ 845 h 76988"/>
                <a:gd name="connsiteX49" fmla="*/ 8408 w 125391"/>
                <a:gd name="connsiteY49" fmla="*/ 1634 h 76988"/>
                <a:gd name="connsiteX50" fmla="*/ 8408 w 125391"/>
                <a:gd name="connsiteY50" fmla="*/ 57448 h 7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25391" h="76988">
                  <a:moveTo>
                    <a:pt x="124864" y="890"/>
                  </a:moveTo>
                  <a:cubicBezTo>
                    <a:pt x="124018" y="633"/>
                    <a:pt x="123159" y="429"/>
                    <a:pt x="122288" y="276"/>
                  </a:cubicBezTo>
                  <a:cubicBezTo>
                    <a:pt x="121118" y="80"/>
                    <a:pt x="119932" y="-12"/>
                    <a:pt x="118745" y="1"/>
                  </a:cubicBezTo>
                  <a:cubicBezTo>
                    <a:pt x="114031" y="1"/>
                    <a:pt x="110314" y="1337"/>
                    <a:pt x="107705" y="3977"/>
                  </a:cubicBezTo>
                  <a:cubicBezTo>
                    <a:pt x="105114" y="6596"/>
                    <a:pt x="103351" y="10586"/>
                    <a:pt x="102467" y="15836"/>
                  </a:cubicBezTo>
                  <a:lnTo>
                    <a:pt x="102148" y="17609"/>
                  </a:lnTo>
                  <a:lnTo>
                    <a:pt x="96230" y="17609"/>
                  </a:lnTo>
                  <a:cubicBezTo>
                    <a:pt x="96230" y="17609"/>
                    <a:pt x="95508" y="17579"/>
                    <a:pt x="95356" y="18369"/>
                  </a:cubicBezTo>
                  <a:lnTo>
                    <a:pt x="94384" y="23807"/>
                  </a:lnTo>
                  <a:cubicBezTo>
                    <a:pt x="94317" y="24328"/>
                    <a:pt x="94540" y="24652"/>
                    <a:pt x="95234" y="24649"/>
                  </a:cubicBezTo>
                  <a:lnTo>
                    <a:pt x="100994" y="24649"/>
                  </a:lnTo>
                  <a:lnTo>
                    <a:pt x="95149" y="57379"/>
                  </a:lnTo>
                  <a:cubicBezTo>
                    <a:pt x="94692" y="60015"/>
                    <a:pt x="94168" y="62183"/>
                    <a:pt x="93588" y="63826"/>
                  </a:cubicBezTo>
                  <a:cubicBezTo>
                    <a:pt x="93016" y="65447"/>
                    <a:pt x="92457" y="66662"/>
                    <a:pt x="91770" y="67544"/>
                  </a:cubicBezTo>
                  <a:cubicBezTo>
                    <a:pt x="91104" y="68398"/>
                    <a:pt x="90473" y="69026"/>
                    <a:pt x="89384" y="69393"/>
                  </a:cubicBezTo>
                  <a:cubicBezTo>
                    <a:pt x="88485" y="69696"/>
                    <a:pt x="87450" y="69835"/>
                    <a:pt x="86317" y="69835"/>
                  </a:cubicBezTo>
                  <a:cubicBezTo>
                    <a:pt x="85686" y="69835"/>
                    <a:pt x="84846" y="69729"/>
                    <a:pt x="84227" y="69605"/>
                  </a:cubicBezTo>
                  <a:cubicBezTo>
                    <a:pt x="83607" y="69482"/>
                    <a:pt x="83285" y="69343"/>
                    <a:pt x="82820" y="69147"/>
                  </a:cubicBezTo>
                  <a:cubicBezTo>
                    <a:pt x="82820" y="69147"/>
                    <a:pt x="82144" y="68889"/>
                    <a:pt x="81878" y="69568"/>
                  </a:cubicBezTo>
                  <a:cubicBezTo>
                    <a:pt x="81662" y="70124"/>
                    <a:pt x="80127" y="74359"/>
                    <a:pt x="79945" y="74883"/>
                  </a:cubicBezTo>
                  <a:cubicBezTo>
                    <a:pt x="79760" y="75401"/>
                    <a:pt x="80019" y="75808"/>
                    <a:pt x="80347" y="75926"/>
                  </a:cubicBezTo>
                  <a:cubicBezTo>
                    <a:pt x="81113" y="76201"/>
                    <a:pt x="81683" y="76377"/>
                    <a:pt x="82728" y="76624"/>
                  </a:cubicBezTo>
                  <a:cubicBezTo>
                    <a:pt x="84179" y="76967"/>
                    <a:pt x="85401" y="76989"/>
                    <a:pt x="86547" y="76989"/>
                  </a:cubicBezTo>
                  <a:cubicBezTo>
                    <a:pt x="88946" y="76989"/>
                    <a:pt x="91132" y="76651"/>
                    <a:pt x="92945" y="75994"/>
                  </a:cubicBezTo>
                  <a:cubicBezTo>
                    <a:pt x="94769" y="75333"/>
                    <a:pt x="96357" y="74180"/>
                    <a:pt x="97762" y="72620"/>
                  </a:cubicBezTo>
                  <a:cubicBezTo>
                    <a:pt x="99281" y="70938"/>
                    <a:pt x="100236" y="69176"/>
                    <a:pt x="101150" y="66772"/>
                  </a:cubicBezTo>
                  <a:cubicBezTo>
                    <a:pt x="102053" y="64390"/>
                    <a:pt x="102823" y="61432"/>
                    <a:pt x="103440" y="57986"/>
                  </a:cubicBezTo>
                  <a:lnTo>
                    <a:pt x="109313" y="24649"/>
                  </a:lnTo>
                  <a:lnTo>
                    <a:pt x="117899" y="24649"/>
                  </a:lnTo>
                  <a:cubicBezTo>
                    <a:pt x="117899" y="24649"/>
                    <a:pt x="118623" y="24676"/>
                    <a:pt x="118773" y="23888"/>
                  </a:cubicBezTo>
                  <a:lnTo>
                    <a:pt x="119745" y="18451"/>
                  </a:lnTo>
                  <a:cubicBezTo>
                    <a:pt x="119813" y="17930"/>
                    <a:pt x="119591" y="17605"/>
                    <a:pt x="118894" y="17609"/>
                  </a:cubicBezTo>
                  <a:lnTo>
                    <a:pt x="110560" y="17609"/>
                  </a:lnTo>
                  <a:cubicBezTo>
                    <a:pt x="110602" y="17420"/>
                    <a:pt x="110980" y="14479"/>
                    <a:pt x="111937" y="11710"/>
                  </a:cubicBezTo>
                  <a:cubicBezTo>
                    <a:pt x="112345" y="10528"/>
                    <a:pt x="113113" y="9575"/>
                    <a:pt x="113764" y="8920"/>
                  </a:cubicBezTo>
                  <a:cubicBezTo>
                    <a:pt x="114373" y="8296"/>
                    <a:pt x="115121" y="7829"/>
                    <a:pt x="115947" y="7557"/>
                  </a:cubicBezTo>
                  <a:cubicBezTo>
                    <a:pt x="116853" y="7277"/>
                    <a:pt x="117797" y="7140"/>
                    <a:pt x="118745" y="7153"/>
                  </a:cubicBezTo>
                  <a:cubicBezTo>
                    <a:pt x="119530" y="7153"/>
                    <a:pt x="120300" y="7247"/>
                    <a:pt x="120887" y="7370"/>
                  </a:cubicBezTo>
                  <a:cubicBezTo>
                    <a:pt x="121695" y="7542"/>
                    <a:pt x="122009" y="7634"/>
                    <a:pt x="122220" y="7697"/>
                  </a:cubicBezTo>
                  <a:cubicBezTo>
                    <a:pt x="123070" y="7957"/>
                    <a:pt x="123184" y="7705"/>
                    <a:pt x="123350" y="7292"/>
                  </a:cubicBezTo>
                  <a:lnTo>
                    <a:pt x="125343" y="1802"/>
                  </a:lnTo>
                  <a:cubicBezTo>
                    <a:pt x="125548" y="1211"/>
                    <a:pt x="125049" y="963"/>
                    <a:pt x="124864" y="890"/>
                  </a:cubicBezTo>
                  <a:moveTo>
                    <a:pt x="8408" y="57448"/>
                  </a:moveTo>
                  <a:cubicBezTo>
                    <a:pt x="8408" y="57886"/>
                    <a:pt x="8097" y="58243"/>
                    <a:pt x="7661" y="58243"/>
                  </a:cubicBezTo>
                  <a:lnTo>
                    <a:pt x="749" y="58243"/>
                  </a:lnTo>
                  <a:cubicBezTo>
                    <a:pt x="311" y="58243"/>
                    <a:pt x="0" y="57886"/>
                    <a:pt x="0" y="57448"/>
                  </a:cubicBezTo>
                  <a:lnTo>
                    <a:pt x="0" y="1634"/>
                  </a:lnTo>
                  <a:cubicBezTo>
                    <a:pt x="0" y="1198"/>
                    <a:pt x="311" y="845"/>
                    <a:pt x="749" y="845"/>
                  </a:cubicBezTo>
                  <a:lnTo>
                    <a:pt x="7661" y="845"/>
                  </a:lnTo>
                  <a:cubicBezTo>
                    <a:pt x="8097" y="845"/>
                    <a:pt x="8408" y="1198"/>
                    <a:pt x="8408" y="1634"/>
                  </a:cubicBezTo>
                  <a:lnTo>
                    <a:pt x="8408" y="57448"/>
                  </a:lnTo>
                </a:path>
              </a:pathLst>
            </a:custGeom>
            <a:solidFill>
              <a:srgbClr val="FFFFFE"/>
            </a:solidFill>
            <a:ln w="1640" cap="flat">
              <a:noFill/>
              <a:prstDash val="solid"/>
              <a:miter/>
            </a:ln>
          </p:spPr>
          <p:txBody>
            <a:bodyPr rtlCol="0" anchor="ct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91414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IBM Plex Sans Light"/>
                <a:ea typeface="+mn-ea"/>
                <a:cs typeface="+mn-cs"/>
              </a:endParaRPr>
            </a:p>
          </p:txBody>
        </p:sp>
      </p:grpSp>
      <p:pic>
        <p:nvPicPr>
          <p:cNvPr id="87" name="Picture 4" descr="Workday Logo PNG Vector (SVG) Free Download">
            <a:extLst>
              <a:ext uri="{FF2B5EF4-FFF2-40B4-BE49-F238E27FC236}">
                <a16:creationId xmlns:a16="http://schemas.microsoft.com/office/drawing/2014/main" id="{4F655611-45A3-FF4C-8CF3-B4A4CDB2777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97508" y="4870838"/>
            <a:ext cx="141202" cy="159851"/>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2B52F919-01D0-95F9-B84C-6622D629E6F6}"/>
              </a:ext>
            </a:extLst>
          </p:cNvPr>
          <p:cNvSpPr txBox="1"/>
          <p:nvPr/>
        </p:nvSpPr>
        <p:spPr>
          <a:xfrm>
            <a:off x="8928129" y="4396863"/>
            <a:ext cx="1215646"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Deployment Choices</a:t>
            </a:r>
          </a:p>
        </p:txBody>
      </p:sp>
      <p:sp>
        <p:nvSpPr>
          <p:cNvPr id="91" name="TextBox 90">
            <a:extLst>
              <a:ext uri="{FF2B5EF4-FFF2-40B4-BE49-F238E27FC236}">
                <a16:creationId xmlns:a16="http://schemas.microsoft.com/office/drawing/2014/main" id="{B6A6213E-17A7-FCB5-562F-A6A56A830768}"/>
              </a:ext>
            </a:extLst>
          </p:cNvPr>
          <p:cNvSpPr txBox="1"/>
          <p:nvPr/>
        </p:nvSpPr>
        <p:spPr>
          <a:xfrm>
            <a:off x="8928129" y="5163485"/>
            <a:ext cx="1121123" cy="101566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Deploy to customize in the IDE of choice, or watsonx Orchestrate, use in production</a:t>
            </a:r>
          </a:p>
        </p:txBody>
      </p:sp>
      <p:pic>
        <p:nvPicPr>
          <p:cNvPr id="93" name="Picture 2" descr="Jaeger: open source, distributed tracing platform">
            <a:extLst>
              <a:ext uri="{FF2B5EF4-FFF2-40B4-BE49-F238E27FC236}">
                <a16:creationId xmlns:a16="http://schemas.microsoft.com/office/drawing/2014/main" id="{CF1D376B-4FC4-E599-A545-1077963D515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267866" y="4833897"/>
            <a:ext cx="298965" cy="340592"/>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 descr="Why Langfuse? - Langfuse">
            <a:extLst>
              <a:ext uri="{FF2B5EF4-FFF2-40B4-BE49-F238E27FC236}">
                <a16:creationId xmlns:a16="http://schemas.microsoft.com/office/drawing/2014/main" id="{A4775934-0D74-0178-71B1-22DD21C124E4}"/>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653957" y="4870043"/>
            <a:ext cx="305676" cy="305676"/>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5B6EE359-43F1-8114-8673-5EB0EA378310}"/>
              </a:ext>
            </a:extLst>
          </p:cNvPr>
          <p:cNvSpPr txBox="1"/>
          <p:nvPr/>
        </p:nvSpPr>
        <p:spPr>
          <a:xfrm>
            <a:off x="10154268" y="4396863"/>
            <a:ext cx="1149579"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marL="0" algn="l" defTabSz="914507" rtl="0" eaLnBrk="1" latinLnBrk="0" hangingPunct="1">
              <a:defRPr sz="1800" kern="1200">
                <a:solidFill>
                  <a:schemeClr val="tx1"/>
                </a:solidFill>
                <a:latin typeface="+mn-lt"/>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t>Tracing </a:t>
            </a:r>
            <a:br>
              <a:rPr kumimoji="0" lang="en-US" sz="1000" b="1" i="0" u="none" strike="noStrike" kern="0" cap="none" spc="0" normalizeH="0" baseline="0" noProof="0">
                <a:ln>
                  <a:noFill/>
                </a:ln>
                <a:solidFill>
                  <a:srgbClr val="000000"/>
                </a:solidFill>
                <a:effectLst/>
                <a:uLnTx/>
                <a:uFillTx/>
                <a:latin typeface="IBM Plex Sans" panose="020B0503050203000203" pitchFamily="34" charset="0"/>
                <a:ea typeface="+mn-ea"/>
                <a:cs typeface="+mn-cs"/>
                <a:sym typeface="IBM Plex Sans Light"/>
              </a:rPr>
            </a:br>
            <a:r>
              <a:rPr kumimoji="0" lang="en-US" sz="1000" b="0" i="1" u="none" strike="noStrike" kern="0" cap="none" spc="0" normalizeH="0" baseline="0" noProof="0">
                <a:ln>
                  <a:noFill/>
                </a:ln>
                <a:solidFill>
                  <a:srgbClr val="FFFFFF">
                    <a:lumMod val="65000"/>
                  </a:srgbClr>
                </a:solidFill>
                <a:effectLst/>
                <a:uLnTx/>
                <a:uFillTx/>
                <a:latin typeface="IBM Plex Sans" panose="020B0503050203000203" pitchFamily="34" charset="0"/>
                <a:ea typeface="+mn-ea"/>
                <a:cs typeface="+mn-cs"/>
                <a:sym typeface="IBM Plex Sans Light"/>
              </a:rPr>
              <a:t>Coming soon</a:t>
            </a:r>
          </a:p>
        </p:txBody>
      </p:sp>
      <p:cxnSp>
        <p:nvCxnSpPr>
          <p:cNvPr id="100" name="Straight Connector 99">
            <a:extLst>
              <a:ext uri="{FF2B5EF4-FFF2-40B4-BE49-F238E27FC236}">
                <a16:creationId xmlns:a16="http://schemas.microsoft.com/office/drawing/2014/main" id="{FCDF5521-385B-73E4-DAE9-7A3C3F50AE4A}"/>
              </a:ext>
            </a:extLst>
          </p:cNvPr>
          <p:cNvCxnSpPr>
            <a:cxnSpLocks/>
          </p:cNvCxnSpPr>
          <p:nvPr/>
        </p:nvCxnSpPr>
        <p:spPr bwMode="auto">
          <a:xfrm>
            <a:off x="5637700"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535784E5-152A-BA57-B9FE-EF7F62E92B98}"/>
              </a:ext>
            </a:extLst>
          </p:cNvPr>
          <p:cNvCxnSpPr>
            <a:cxnSpLocks/>
          </p:cNvCxnSpPr>
          <p:nvPr/>
        </p:nvCxnSpPr>
        <p:spPr bwMode="auto">
          <a:xfrm>
            <a:off x="7194505"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592285AF-F324-6178-07CD-EF2D3A18804C}"/>
              </a:ext>
            </a:extLst>
          </p:cNvPr>
          <p:cNvCxnSpPr>
            <a:cxnSpLocks/>
          </p:cNvCxnSpPr>
          <p:nvPr/>
        </p:nvCxnSpPr>
        <p:spPr bwMode="auto">
          <a:xfrm>
            <a:off x="8879903"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CA910713-A342-6DC6-A772-0166B6F7E1EA}"/>
              </a:ext>
            </a:extLst>
          </p:cNvPr>
          <p:cNvCxnSpPr>
            <a:cxnSpLocks/>
          </p:cNvCxnSpPr>
          <p:nvPr/>
        </p:nvCxnSpPr>
        <p:spPr bwMode="auto">
          <a:xfrm>
            <a:off x="10121323" y="4443667"/>
            <a:ext cx="0" cy="1798953"/>
          </a:xfrm>
          <a:prstGeom prst="line">
            <a:avLst/>
          </a:prstGeom>
          <a:ln w="12700">
            <a:solidFill>
              <a:schemeClr val="tx1"/>
            </a:solidFill>
            <a:prstDash val="sysDash"/>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CC0398A6-2BE3-7D0C-5055-1C0DF7D9BFE7}"/>
              </a:ext>
            </a:extLst>
          </p:cNvPr>
          <p:cNvCxnSpPr/>
          <p:nvPr/>
        </p:nvCxnSpPr>
        <p:spPr bwMode="auto">
          <a:xfrm>
            <a:off x="5811953" y="536124"/>
            <a:ext cx="0" cy="204521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EFB19EA8-D082-2FFF-950F-83EA812B7C77}"/>
              </a:ext>
            </a:extLst>
          </p:cNvPr>
          <p:cNvCxnSpPr/>
          <p:nvPr/>
        </p:nvCxnSpPr>
        <p:spPr bwMode="auto">
          <a:xfrm flipV="1">
            <a:off x="2442859" y="2588498"/>
            <a:ext cx="9307604" cy="4483"/>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Text Placeholder 8">
            <a:extLst>
              <a:ext uri="{FF2B5EF4-FFF2-40B4-BE49-F238E27FC236}">
                <a16:creationId xmlns:a16="http://schemas.microsoft.com/office/drawing/2014/main" id="{307A7E30-C2D9-1871-4EDB-F0124CC7BEB6}"/>
              </a:ext>
            </a:extLst>
          </p:cNvPr>
          <p:cNvSpPr txBox="1">
            <a:spLocks/>
          </p:cNvSpPr>
          <p:nvPr/>
        </p:nvSpPr>
        <p:spPr>
          <a:xfrm>
            <a:off x="2440255" y="495843"/>
            <a:ext cx="3532632" cy="367895"/>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F62FE"/>
                </a:solidFill>
                <a:effectLst/>
                <a:uLnTx/>
                <a:uFillTx/>
                <a:latin typeface="IBM Plex Sans Light"/>
                <a:sym typeface="IBM Plex Sans Light"/>
              </a:rPr>
              <a:t>Overview</a:t>
            </a:r>
          </a:p>
        </p:txBody>
      </p:sp>
      <p:sp>
        <p:nvSpPr>
          <p:cNvPr id="57" name="Text Placeholder 9">
            <a:extLst>
              <a:ext uri="{FF2B5EF4-FFF2-40B4-BE49-F238E27FC236}">
                <a16:creationId xmlns:a16="http://schemas.microsoft.com/office/drawing/2014/main" id="{7EACEFAA-26B4-8A8F-18BF-10A88FDEAB97}"/>
              </a:ext>
            </a:extLst>
          </p:cNvPr>
          <p:cNvSpPr txBox="1">
            <a:spLocks/>
          </p:cNvSpPr>
          <p:nvPr/>
        </p:nvSpPr>
        <p:spPr>
          <a:xfrm>
            <a:off x="5970261" y="495843"/>
            <a:ext cx="1741664" cy="365169"/>
          </a:xfrm>
          <a:prstGeom prst="rect">
            <a:avLst/>
          </a:prstGeom>
        </p:spPr>
        <p:txBody>
          <a:bodyPr lIns="91440" tIns="45720" rIns="91440" bIns="45720" anchor="t"/>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IBM Plex Sans Light"/>
                <a:ea typeface="IBM Plex Sans Light"/>
                <a:cs typeface="IBM Plex Sans Light"/>
                <a:sym typeface="IBM Plex Sans Light"/>
              </a:defRPr>
            </a:lvl1pPr>
            <a:lvl2pPr marL="163767"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2pPr>
            <a:lvl3pPr marL="329334"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3pPr>
            <a:lvl4pPr marL="493101" marR="0" indent="-163767" algn="l" defTabSz="1218956" rtl="0" eaLnBrk="1" latinLnBrk="0" hangingPunct="1">
              <a:lnSpc>
                <a:spcPct val="100000"/>
              </a:lnSpc>
              <a:spcBef>
                <a:spcPts val="0"/>
              </a:spcBef>
              <a:spcAft>
                <a:spcPts val="0"/>
              </a:spcAft>
              <a:buClrTx/>
              <a:buSzPct val="100000"/>
              <a:buFont typeface="IBM Plex Sans Light" panose="020B0604020202020204" pitchFamily="34" charset="0"/>
              <a:buChar char="•"/>
              <a:tabLst/>
              <a:defRPr sz="1800" b="0" i="0" u="none" strike="noStrike" cap="none" spc="0" baseline="0">
                <a:solidFill>
                  <a:schemeClr val="tx1"/>
                </a:solidFill>
                <a:uFillTx/>
                <a:latin typeface="IBM Plex Sans Light"/>
                <a:ea typeface="IBM Plex Sans Light"/>
                <a:cs typeface="IBM Plex Sans Light"/>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Light" panose="020B0604020202020204" pitchFamily="34" charset="0"/>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IBM Plex Sans Light"/>
                <a:ea typeface="IBM Plex Sans Light"/>
                <a:cs typeface="IBM Plex Sans Light"/>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a:ln>
                  <a:noFill/>
                </a:ln>
                <a:solidFill>
                  <a:srgbClr val="0F62FE"/>
                </a:solidFill>
                <a:effectLst/>
                <a:uLnTx/>
                <a:uFillTx/>
                <a:latin typeface="IBM Plex Sans Light"/>
                <a:sym typeface="IBM Plex Sans Light"/>
              </a:rPr>
              <a:t>Benefits</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IBM Plex Sans Light"/>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IBM Plex Sans Light"/>
              <a:sym typeface="IBM Plex Sans Light"/>
            </a:endParaRPr>
          </a:p>
        </p:txBody>
      </p:sp>
      <p:sp>
        <p:nvSpPr>
          <p:cNvPr id="15" name="Slide Number Placeholder 14">
            <a:extLst>
              <a:ext uri="{FF2B5EF4-FFF2-40B4-BE49-F238E27FC236}">
                <a16:creationId xmlns:a16="http://schemas.microsoft.com/office/drawing/2014/main" id="{6F6AC4B1-85A1-1429-47C6-1C439E91F99B}"/>
              </a:ext>
            </a:extLst>
          </p:cNvPr>
          <p:cNvSpPr txBox="1">
            <a:spLocks/>
          </p:cNvSpPr>
          <p:nvPr/>
        </p:nvSpPr>
        <p:spPr>
          <a:xfrm>
            <a:off x="11479427" y="6475769"/>
            <a:ext cx="425273" cy="15980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sym typeface="IBM Plex Sans"/>
            </a:endParaRPr>
          </a:p>
        </p:txBody>
      </p:sp>
      <p:sp>
        <p:nvSpPr>
          <p:cNvPr id="9" name="Footer Placeholder 8">
            <a:extLst>
              <a:ext uri="{FF2B5EF4-FFF2-40B4-BE49-F238E27FC236}">
                <a16:creationId xmlns:a16="http://schemas.microsoft.com/office/drawing/2014/main" id="{721F1EB0-2F80-F718-3D34-5F2F630A1B09}"/>
              </a:ext>
            </a:extLst>
          </p:cNvPr>
          <p:cNvSpPr txBox="1">
            <a:spLocks/>
          </p:cNvSpPr>
          <p:nvPr/>
        </p:nvSpPr>
        <p:spPr>
          <a:xfrm>
            <a:off x="284824" y="6408380"/>
            <a:ext cx="2477765" cy="19050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2025 cloudflight / IBM Corporation </a:t>
            </a:r>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27801140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Lariss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Larissa">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IBM Presentation Template for enablement - Dec 2024">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F62FE"/>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2800" b="0" i="0" u="none" strike="noStrike" cap="none" normalizeH="0" baseline="0" dirty="0" err="1"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spcBef>
            <a:spcPts val="2900"/>
          </a:spcBef>
          <a:buSzPct val="100000"/>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1730368918050" id="{31DF0289-1028-6943-A020-36845773A867}" vid="{420903E5-FF27-9C4D-AB14-78ABBED49DF3}"/>
    </a:ext>
  </a:extLst>
</a:theme>
</file>

<file path=ppt/theme/theme3.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Arial"/>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1" id="{BA6BBECB-B669-4D45-9357-C5B34CB66EB4}" vid="{D9557D04-E7DB-D64D-84DE-6F8AE8AAB5C5}"/>
    </a:ext>
  </a:extLst>
</a:theme>
</file>

<file path=ppt/theme/theme4.xml><?xml version="1.0" encoding="utf-8"?>
<a:theme xmlns:a="http://schemas.openxmlformats.org/drawingml/2006/main" name="IBM 2020 Master template (white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5B0CDC82-2F34-0D46-BF8D-C4B83EE43B24}"/>
    </a:ext>
  </a:extLst>
</a:theme>
</file>

<file path=ppt/theme/theme5.xml><?xml version="1.0" encoding="utf-8"?>
<a:theme xmlns:a="http://schemas.openxmlformats.org/drawingml/2006/main" name="4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3_Plex" id="{507D63C0-68EA-7B42-B40C-F513B5E0ED36}" vid="{FA317DCC-6681-E74E-975A-CD54A5E1797A}"/>
    </a:ext>
  </a:extLst>
</a:theme>
</file>

<file path=ppt/theme/theme6.xml><?xml version="1.0" encoding="utf-8"?>
<a:theme xmlns:a="http://schemas.openxmlformats.org/drawingml/2006/main" name="8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230309_IBM_iX_presentation_brand_covers_v_1_3_Plex_LS" id="{763475CA-15AA-3243-B836-B9B68D44DA40}" vid="{E7D580C0-4B31-DB41-AABF-152B341A690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472426F24442848BA2CD38B0379B009" ma:contentTypeVersion="17" ma:contentTypeDescription="Create a new document." ma:contentTypeScope="" ma:versionID="82d944e77986b164ff4b28269aba5a71">
  <xsd:schema xmlns:xsd="http://www.w3.org/2001/XMLSchema" xmlns:xs="http://www.w3.org/2001/XMLSchema" xmlns:p="http://schemas.microsoft.com/office/2006/metadata/properties" xmlns:ns2="7ff60a69-157b-46cb-9c8d-1d678c41f1d1" xmlns:ns3="2ec17ca1-af7e-4786-b66f-c32db9909bec" targetNamespace="http://schemas.microsoft.com/office/2006/metadata/properties" ma:root="true" ma:fieldsID="ead2378e533617d57273c2432970ae1b" ns2:_="" ns3:_="">
    <xsd:import namespace="7ff60a69-157b-46cb-9c8d-1d678c41f1d1"/>
    <xsd:import namespace="2ec17ca1-af7e-4786-b66f-c32db9909be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f60a69-157b-46cb-9c8d-1d678c41f1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d4d6cad1-c18c-4d70-a6a3-d0fc9914e46b"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c17ca1-af7e-4786-b66f-c32db9909be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c53a59e7-3b91-4048-98a7-2fa3bcf73e8b}" ma:internalName="TaxCatchAll" ma:showField="CatchAllData" ma:web="2ec17ca1-af7e-4786-b66f-c32db9909b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ec17ca1-af7e-4786-b66f-c32db9909bec" xsi:nil="true"/>
    <lcf76f155ced4ddcb4097134ff3c332f xmlns="7ff60a69-157b-46cb-9c8d-1d678c41f1d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C3F5BFA-A6A4-4370-90AB-5701FB98150C}">
  <ds:schemaRefs>
    <ds:schemaRef ds:uri="2ec17ca1-af7e-4786-b66f-c32db9909bec"/>
    <ds:schemaRef ds:uri="7ff60a69-157b-46cb-9c8d-1d678c41f1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AD000BF-2F0F-44C4-A56E-4099073C3042}">
  <ds:schemaRefs>
    <ds:schemaRef ds:uri="http://schemas.microsoft.com/sharepoint/v3/contenttype/forms"/>
  </ds:schemaRefs>
</ds:datastoreItem>
</file>

<file path=customXml/itemProps3.xml><?xml version="1.0" encoding="utf-8"?>
<ds:datastoreItem xmlns:ds="http://schemas.openxmlformats.org/officeDocument/2006/customXml" ds:itemID="{7C32495F-9B32-4AA8-9A7A-F46E60A45558}">
  <ds:schemaRefs>
    <ds:schemaRef ds:uri="http://purl.org/dc/dcmitype/"/>
    <ds:schemaRef ds:uri="http://purl.org/dc/elements/1.1/"/>
    <ds:schemaRef ds:uri="http://schemas.microsoft.com/office/2006/documentManagement/types"/>
    <ds:schemaRef ds:uri="http://schemas.openxmlformats.org/package/2006/metadata/core-properties"/>
    <ds:schemaRef ds:uri="http://purl.org/dc/terms/"/>
    <ds:schemaRef ds:uri="http://www.w3.org/XML/1998/namespace"/>
    <ds:schemaRef ds:uri="http://schemas.microsoft.com/office/infopath/2007/PartnerControls"/>
    <ds:schemaRef ds:uri="2ec17ca1-af7e-4786-b66f-c32db9909bec"/>
    <ds:schemaRef ds:uri="7ff60a69-157b-46cb-9c8d-1d678c41f1d1"/>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0</TotalTime>
  <Words>2678</Words>
  <Application>Microsoft Office PowerPoint</Application>
  <PresentationFormat>Widescreen</PresentationFormat>
  <Paragraphs>333</Paragraphs>
  <Slides>18</Slides>
  <Notes>6</Notes>
  <HiddenSlides>0</HiddenSlides>
  <MMClips>6</MMClips>
  <ScaleCrop>false</ScaleCrop>
  <HeadingPairs>
    <vt:vector size="8" baseType="variant">
      <vt:variant>
        <vt:lpstr>Fonts Used</vt:lpstr>
      </vt:variant>
      <vt:variant>
        <vt:i4>17</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42" baseType="lpstr">
      <vt:lpstr>Aptos</vt:lpstr>
      <vt:lpstr>Aptos Display</vt:lpstr>
      <vt:lpstr>Arial</vt:lpstr>
      <vt:lpstr>Arial MT Std Light</vt:lpstr>
      <vt:lpstr>Arial Regular</vt:lpstr>
      <vt:lpstr>Calibri</vt:lpstr>
      <vt:lpstr>Helvetica Neue Light</vt:lpstr>
      <vt:lpstr>Helvetica Neue Medium</vt:lpstr>
      <vt:lpstr>IBM Plex Sans</vt:lpstr>
      <vt:lpstr>IBM Plex Sans ExtLt</vt:lpstr>
      <vt:lpstr>IBM Plex Sans Light</vt:lpstr>
      <vt:lpstr>IBM Plex Sans Medm</vt:lpstr>
      <vt:lpstr>IBM Plex Sans SmBld</vt:lpstr>
      <vt:lpstr>IBM Plex Sans Text</vt:lpstr>
      <vt:lpstr>Segoe UI,Sans-Serif</vt:lpstr>
      <vt:lpstr>Wingdings</vt:lpstr>
      <vt:lpstr>WordVisi_MSFontService</vt:lpstr>
      <vt:lpstr>Larissa</vt:lpstr>
      <vt:lpstr>IBM Presentation Template for enablement - Dec 2024</vt:lpstr>
      <vt:lpstr>IBM presentation template</vt:lpstr>
      <vt:lpstr>IBM 2020 Master template (white background)</vt:lpstr>
      <vt:lpstr>4_IBM presentation template</vt:lpstr>
      <vt:lpstr>8_IBM presentation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ür die Umsetzung der souveränen KI gibt es verschiedene Alternativen, wo der Software Technologie-Stack betrieben werden kann</vt:lpstr>
      <vt:lpstr>AgentO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Paul Puntschart</cp:lastModifiedBy>
  <cp:revision>4</cp:revision>
  <dcterms:created xsi:type="dcterms:W3CDTF">2025-10-16T11:36:02Z</dcterms:created>
  <dcterms:modified xsi:type="dcterms:W3CDTF">2025-11-26T19:4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72426F24442848BA2CD38B0379B009</vt:lpwstr>
  </property>
  <property fmtid="{D5CDD505-2E9C-101B-9397-08002B2CF9AE}" pid="3" name="MediaServiceImageTags">
    <vt:lpwstr/>
  </property>
  <property fmtid="{D5CDD505-2E9C-101B-9397-08002B2CF9AE}" pid="4" name="MSIP_Label_5a612a5d-858c-47c0-96d3-92955940fe19_Enabled">
    <vt:lpwstr>true</vt:lpwstr>
  </property>
  <property fmtid="{D5CDD505-2E9C-101B-9397-08002B2CF9AE}" pid="5" name="MSIP_Label_5a612a5d-858c-47c0-96d3-92955940fe19_SetDate">
    <vt:lpwstr>2025-10-23T16:07:41Z</vt:lpwstr>
  </property>
  <property fmtid="{D5CDD505-2E9C-101B-9397-08002B2CF9AE}" pid="6" name="MSIP_Label_5a612a5d-858c-47c0-96d3-92955940fe19_Method">
    <vt:lpwstr>Privileged</vt:lpwstr>
  </property>
  <property fmtid="{D5CDD505-2E9C-101B-9397-08002B2CF9AE}" pid="7" name="MSIP_Label_5a612a5d-858c-47c0-96d3-92955940fe19_Name">
    <vt:lpwstr>Public (without marking)</vt:lpwstr>
  </property>
  <property fmtid="{D5CDD505-2E9C-101B-9397-08002B2CF9AE}" pid="8" name="MSIP_Label_5a612a5d-858c-47c0-96d3-92955940fe19_SiteId">
    <vt:lpwstr>e21ebe2c-3b5b-4d4c-8d0e-c1ca0e8ea14b</vt:lpwstr>
  </property>
  <property fmtid="{D5CDD505-2E9C-101B-9397-08002B2CF9AE}" pid="9" name="MSIP_Label_5a612a5d-858c-47c0-96d3-92955940fe19_ActionId">
    <vt:lpwstr>69a54383-8468-4467-92c1-958f10eb2fc9</vt:lpwstr>
  </property>
  <property fmtid="{D5CDD505-2E9C-101B-9397-08002B2CF9AE}" pid="10" name="MSIP_Label_5a612a5d-858c-47c0-96d3-92955940fe19_ContentBits">
    <vt:lpwstr>0</vt:lpwstr>
  </property>
  <property fmtid="{D5CDD505-2E9C-101B-9397-08002B2CF9AE}" pid="11" name="MSIP_Label_5a612a5d-858c-47c0-96d3-92955940fe19_Tag">
    <vt:lpwstr>10, 0, 1, 1</vt:lpwstr>
  </property>
</Properties>
</file>